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256" r:id="rId2"/>
    <p:sldId id="296" r:id="rId3"/>
    <p:sldId id="297" r:id="rId4"/>
    <p:sldId id="298" r:id="rId5"/>
    <p:sldId id="292" r:id="rId6"/>
    <p:sldId id="293" r:id="rId7"/>
    <p:sldId id="288" r:id="rId8"/>
    <p:sldId id="295" r:id="rId9"/>
    <p:sldId id="290" r:id="rId10"/>
    <p:sldId id="259" r:id="rId11"/>
    <p:sldId id="274" r:id="rId12"/>
  </p:sldIdLst>
  <p:sldSz cx="10693400" cy="7562850"/>
  <p:notesSz cx="9928225" cy="679767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3353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482" autoAdjust="0"/>
    <p:restoredTop sz="99871" autoAdjust="0"/>
  </p:normalViewPr>
  <p:slideViewPr>
    <p:cSldViewPr>
      <p:cViewPr varScale="1">
        <p:scale>
          <a:sx n="63" d="100"/>
          <a:sy n="63" d="100"/>
        </p:scale>
        <p:origin x="-1314" y="-114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1" d="100"/>
          <a:sy n="71" d="100"/>
        </p:scale>
        <p:origin x="-1734" y="-102"/>
      </p:cViewPr>
      <p:guideLst>
        <p:guide orient="horz" pos="2141"/>
        <p:guide pos="312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1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2120377326988903"/>
          <c:y val="0.232978545788463"/>
          <c:w val="0.44581768094164798"/>
          <c:h val="0.44581768094164798"/>
        </c:manualLayout>
      </c:layout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 sz="200" b="1"/>
      </a:pPr>
      <a:endParaRPr lang="ru-RU"/>
    </a:p>
  </c:tx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4301699" cy="339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23334" y="2"/>
            <a:ext cx="4303295" cy="339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A1791B-D866-489B-B04B-95322242543B}" type="datetimeFigureOut">
              <a:rPr lang="ru-RU" smtClean="0"/>
              <a:t>26.12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162300" y="509588"/>
            <a:ext cx="3603625" cy="2549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2823" y="3228978"/>
            <a:ext cx="7942580" cy="30591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6456366"/>
            <a:ext cx="4301699" cy="339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23334" y="6456366"/>
            <a:ext cx="4303295" cy="339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6605C8B-26BC-459F-9021-DE2DBB3A65A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82450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605C8B-26BC-459F-9021-DE2DBB3A65A8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466359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2C97F8-083F-4AF9-873A-3F382969A974}" type="slidenum">
              <a:rPr lang="ru-RU" smtClean="0">
                <a:solidFill>
                  <a:prstClr val="black"/>
                </a:solidFill>
              </a:rPr>
              <a:pPr/>
              <a:t>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47833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605C8B-26BC-459F-9021-DE2DBB3A65A8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663426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605C8B-26BC-459F-9021-DE2DBB3A65A8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16467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802005" y="2344483"/>
            <a:ext cx="9089390" cy="15881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604010" y="4235196"/>
            <a:ext cx="7485380" cy="189071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12/26/2017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5100" b="0" i="0">
                <a:solidFill>
                  <a:srgbClr val="2B2A29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rgbClr val="FEFEFE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12/26/2017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5100" b="0" i="0">
                <a:solidFill>
                  <a:srgbClr val="2B2A29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534670" y="1739455"/>
            <a:ext cx="4651629" cy="499148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5507101" y="1739455"/>
            <a:ext cx="4651629" cy="499148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12/26/2017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1283055" y="2737929"/>
            <a:ext cx="9409430" cy="2719070"/>
          </a:xfrm>
          <a:custGeom>
            <a:avLst/>
            <a:gdLst/>
            <a:ahLst/>
            <a:cxnLst/>
            <a:rect l="l" t="t" r="r" b="b"/>
            <a:pathLst>
              <a:path w="9409430" h="2719070">
                <a:moveTo>
                  <a:pt x="9408947" y="0"/>
                </a:moveTo>
                <a:lnTo>
                  <a:pt x="0" y="0"/>
                </a:lnTo>
                <a:lnTo>
                  <a:pt x="1259979" y="2710827"/>
                </a:lnTo>
                <a:lnTo>
                  <a:pt x="9408947" y="2718561"/>
                </a:lnTo>
                <a:lnTo>
                  <a:pt x="9408947" y="0"/>
                </a:lnTo>
                <a:close/>
              </a:path>
            </a:pathLst>
          </a:custGeom>
          <a:solidFill>
            <a:srgbClr val="0A73A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k object 17"/>
          <p:cNvSpPr/>
          <p:nvPr/>
        </p:nvSpPr>
        <p:spPr>
          <a:xfrm>
            <a:off x="1283055" y="2925495"/>
            <a:ext cx="9409430" cy="2531110"/>
          </a:xfrm>
          <a:custGeom>
            <a:avLst/>
            <a:gdLst/>
            <a:ahLst/>
            <a:cxnLst/>
            <a:rect l="l" t="t" r="r" b="b"/>
            <a:pathLst>
              <a:path w="9409430" h="2531110">
                <a:moveTo>
                  <a:pt x="9408947" y="0"/>
                </a:moveTo>
                <a:lnTo>
                  <a:pt x="0" y="0"/>
                </a:lnTo>
                <a:lnTo>
                  <a:pt x="1259979" y="2523794"/>
                </a:lnTo>
                <a:lnTo>
                  <a:pt x="9408947" y="2530995"/>
                </a:lnTo>
                <a:lnTo>
                  <a:pt x="9408947" y="0"/>
                </a:lnTo>
                <a:close/>
              </a:path>
            </a:pathLst>
          </a:custGeom>
          <a:solidFill>
            <a:srgbClr val="C5C6C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k object 18"/>
          <p:cNvSpPr/>
          <p:nvPr/>
        </p:nvSpPr>
        <p:spPr>
          <a:xfrm>
            <a:off x="0" y="2203259"/>
            <a:ext cx="3431540" cy="3246755"/>
          </a:xfrm>
          <a:custGeom>
            <a:avLst/>
            <a:gdLst/>
            <a:ahLst/>
            <a:cxnLst/>
            <a:rect l="l" t="t" r="r" b="b"/>
            <a:pathLst>
              <a:path w="3431540" h="3246754">
                <a:moveTo>
                  <a:pt x="0" y="3246729"/>
                </a:moveTo>
                <a:lnTo>
                  <a:pt x="0" y="0"/>
                </a:lnTo>
                <a:lnTo>
                  <a:pt x="3431476" y="0"/>
                </a:lnTo>
                <a:lnTo>
                  <a:pt x="3431476" y="3246729"/>
                </a:lnTo>
                <a:lnTo>
                  <a:pt x="0" y="3246729"/>
                </a:lnTo>
                <a:close/>
              </a:path>
            </a:pathLst>
          </a:custGeom>
          <a:solidFill>
            <a:srgbClr val="2B2A29">
              <a:alpha val="21598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k object 19"/>
          <p:cNvSpPr/>
          <p:nvPr/>
        </p:nvSpPr>
        <p:spPr>
          <a:xfrm>
            <a:off x="0" y="2334628"/>
            <a:ext cx="3331845" cy="3122295"/>
          </a:xfrm>
          <a:custGeom>
            <a:avLst/>
            <a:gdLst/>
            <a:ahLst/>
            <a:cxnLst/>
            <a:rect l="l" t="t" r="r" b="b"/>
            <a:pathLst>
              <a:path w="3331845" h="3122295">
                <a:moveTo>
                  <a:pt x="1536039" y="0"/>
                </a:moveTo>
                <a:lnTo>
                  <a:pt x="0" y="0"/>
                </a:lnTo>
                <a:lnTo>
                  <a:pt x="0" y="1979510"/>
                </a:lnTo>
                <a:lnTo>
                  <a:pt x="1815312" y="1979510"/>
                </a:lnTo>
                <a:lnTo>
                  <a:pt x="2472334" y="3121863"/>
                </a:lnTo>
                <a:lnTo>
                  <a:pt x="3331552" y="3121863"/>
                </a:lnTo>
                <a:lnTo>
                  <a:pt x="1536039" y="0"/>
                </a:lnTo>
                <a:close/>
              </a:path>
            </a:pathLst>
          </a:custGeom>
          <a:solidFill>
            <a:srgbClr val="00A0E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5100" b="0" i="0">
                <a:solidFill>
                  <a:srgbClr val="2B2A29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12/26/2017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9736455" y="6303590"/>
            <a:ext cx="955675" cy="485775"/>
          </a:xfrm>
          <a:custGeom>
            <a:avLst/>
            <a:gdLst/>
            <a:ahLst/>
            <a:cxnLst/>
            <a:rect l="l" t="t" r="r" b="b"/>
            <a:pathLst>
              <a:path w="955675" h="485775">
                <a:moveTo>
                  <a:pt x="0" y="0"/>
                </a:moveTo>
                <a:lnTo>
                  <a:pt x="955548" y="0"/>
                </a:lnTo>
                <a:lnTo>
                  <a:pt x="955548" y="485524"/>
                </a:lnTo>
                <a:lnTo>
                  <a:pt x="0" y="485524"/>
                </a:lnTo>
                <a:lnTo>
                  <a:pt x="0" y="0"/>
                </a:lnTo>
                <a:close/>
              </a:path>
            </a:pathLst>
          </a:custGeom>
          <a:solidFill>
            <a:srgbClr val="00A0E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12/26/2017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336675" y="2824269"/>
            <a:ext cx="8020050" cy="1046440"/>
          </a:xfrm>
        </p:spPr>
        <p:txBody>
          <a:bodyPr anchor="b"/>
          <a:lstStyle>
            <a:lvl1pPr algn="ctr">
              <a:defRPr sz="68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36675" y="3972247"/>
            <a:ext cx="8020050" cy="415498"/>
          </a:xfrm>
        </p:spPr>
        <p:txBody>
          <a:bodyPr/>
          <a:lstStyle>
            <a:lvl1pPr marL="0" indent="0" algn="ctr">
              <a:buNone/>
              <a:defRPr sz="2700"/>
            </a:lvl1pPr>
            <a:lvl2pPr marL="521574" indent="0" algn="ctr">
              <a:buNone/>
              <a:defRPr sz="2300"/>
            </a:lvl2pPr>
            <a:lvl3pPr marL="1043148" indent="0" algn="ctr">
              <a:buNone/>
              <a:defRPr sz="2100"/>
            </a:lvl3pPr>
            <a:lvl4pPr marL="1564721" indent="0" algn="ctr">
              <a:buNone/>
              <a:defRPr sz="1800"/>
            </a:lvl4pPr>
            <a:lvl5pPr marL="2086295" indent="0" algn="ctr">
              <a:buNone/>
              <a:defRPr sz="1800"/>
            </a:lvl5pPr>
            <a:lvl6pPr marL="2607869" indent="0" algn="ctr">
              <a:buNone/>
              <a:defRPr sz="1800"/>
            </a:lvl6pPr>
            <a:lvl7pPr marL="3129443" indent="0" algn="ctr">
              <a:buNone/>
              <a:defRPr sz="1800"/>
            </a:lvl7pPr>
            <a:lvl8pPr marL="3651016" indent="0" algn="ctr">
              <a:buNone/>
              <a:defRPr sz="1800"/>
            </a:lvl8pPr>
            <a:lvl9pPr marL="4172590" indent="0" algn="ctr">
              <a:buNone/>
              <a:defRPr sz="18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34670" y="7033450"/>
            <a:ext cx="2459482" cy="276999"/>
          </a:xfrm>
        </p:spPr>
        <p:txBody>
          <a:bodyPr/>
          <a:lstStyle/>
          <a:p>
            <a:fld id="{5B6871FB-5320-4D34-83C1-EB6476B1EF9C}" type="datetime1">
              <a:rPr lang="ru-RU" smtClean="0"/>
              <a:pPr/>
              <a:t>26.12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635756" y="7033450"/>
            <a:ext cx="3421888" cy="276999"/>
          </a:xfr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699248" y="7033450"/>
            <a:ext cx="2459482" cy="276999"/>
          </a:xfrm>
        </p:spPr>
        <p:txBody>
          <a:bodyPr/>
          <a:lstStyle/>
          <a:p>
            <a:fld id="{E7E4A56A-6CFF-441F-ACD8-679C2267E3E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594730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63118" y="3399853"/>
            <a:ext cx="9767163" cy="8064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5100" b="0" i="0">
                <a:solidFill>
                  <a:srgbClr val="2B2A29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957715" y="2302344"/>
            <a:ext cx="8777968" cy="299339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400" b="0" i="0">
                <a:solidFill>
                  <a:srgbClr val="FEFEFE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635756" y="7033450"/>
            <a:ext cx="3421888" cy="37814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534670" y="7033450"/>
            <a:ext cx="2459482" cy="37814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12/26/2017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7699248" y="7033450"/>
            <a:ext cx="2459482" cy="37814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9523164" y="6154448"/>
            <a:ext cx="1169321" cy="83425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50800" dir="5400000" algn="ct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" name="object 2"/>
          <p:cNvSpPr/>
          <p:nvPr/>
        </p:nvSpPr>
        <p:spPr>
          <a:xfrm>
            <a:off x="1283055" y="3173095"/>
            <a:ext cx="9409430" cy="2120498"/>
          </a:xfrm>
          <a:custGeom>
            <a:avLst/>
            <a:gdLst/>
            <a:ahLst/>
            <a:cxnLst/>
            <a:rect l="l" t="t" r="r" b="b"/>
            <a:pathLst>
              <a:path w="9409430" h="2719070">
                <a:moveTo>
                  <a:pt x="9408947" y="0"/>
                </a:moveTo>
                <a:lnTo>
                  <a:pt x="0" y="0"/>
                </a:lnTo>
                <a:lnTo>
                  <a:pt x="1259979" y="2710827"/>
                </a:lnTo>
                <a:lnTo>
                  <a:pt x="9408947" y="2718574"/>
                </a:lnTo>
                <a:lnTo>
                  <a:pt x="9408947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1283055" y="3360661"/>
            <a:ext cx="9409430" cy="1932932"/>
          </a:xfrm>
          <a:custGeom>
            <a:avLst/>
            <a:gdLst/>
            <a:ahLst/>
            <a:cxnLst/>
            <a:rect l="l" t="t" r="r" b="b"/>
            <a:pathLst>
              <a:path w="9409430" h="2531110">
                <a:moveTo>
                  <a:pt x="9408947" y="0"/>
                </a:moveTo>
                <a:lnTo>
                  <a:pt x="0" y="0"/>
                </a:lnTo>
                <a:lnTo>
                  <a:pt x="1259979" y="2523794"/>
                </a:lnTo>
                <a:lnTo>
                  <a:pt x="9408947" y="2531008"/>
                </a:lnTo>
                <a:lnTo>
                  <a:pt x="9408947" y="0"/>
                </a:lnTo>
                <a:close/>
              </a:path>
            </a:pathLst>
          </a:custGeom>
          <a:solidFill>
            <a:srgbClr val="C5C6C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4773574" y="504825"/>
            <a:ext cx="1146434" cy="118109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594172" y="1786493"/>
            <a:ext cx="9577064" cy="266740"/>
          </a:xfrm>
          <a:prstGeom prst="rect">
            <a:avLst/>
          </a:prstGeom>
        </p:spPr>
        <p:txBody>
          <a:bodyPr vert="horz" wrap="square" lIns="0" tIns="35560" rIns="0" bIns="0" rtlCol="0">
            <a:spAutoFit/>
          </a:bodyPr>
          <a:lstStyle/>
          <a:p>
            <a:pPr marL="1112520" marR="5080" indent="-1100455" algn="ctr">
              <a:lnSpc>
                <a:spcPts val="1770"/>
              </a:lnSpc>
              <a:spcBef>
                <a:spcPts val="280"/>
              </a:spcBef>
            </a:pPr>
            <a:r>
              <a:rPr lang="kk-KZ" sz="1600" b="1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ҚАЗАҚСТАН РЕСПУБЛИКАСЫ ИНВЕСТИЦИЯЛАР ЖӘНЕ ДАМУ МИНИСТРЛІГІ</a:t>
            </a:r>
            <a:endParaRPr lang="ru-RU" sz="1600" b="1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2250355" y="3853433"/>
            <a:ext cx="8442129" cy="968214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algn="ctr">
              <a:spcAft>
                <a:spcPts val="0"/>
              </a:spcAft>
            </a:pPr>
            <a:r>
              <a:rPr lang="ru-RU" sz="2100" b="1" i="1" dirty="0" smtClean="0">
                <a:latin typeface="Arial" pitchFamily="34" charset="0"/>
                <a:ea typeface="Times New Roman"/>
                <a:cs typeface="Arial" pitchFamily="34" charset="0"/>
              </a:rPr>
              <a:t>«</a:t>
            </a:r>
            <a:r>
              <a:rPr lang="ru-RU" sz="2100" b="1" i="1" dirty="0" err="1" smtClean="0">
                <a:latin typeface="Arial" pitchFamily="34" charset="0"/>
                <a:ea typeface="Times New Roman"/>
                <a:cs typeface="Arial" pitchFamily="34" charset="0"/>
              </a:rPr>
              <a:t>Арнайы</a:t>
            </a:r>
            <a:r>
              <a:rPr lang="ru-RU" sz="2100" b="1" i="1" dirty="0" smtClean="0">
                <a:latin typeface="Arial" pitchFamily="34" charset="0"/>
                <a:ea typeface="Times New Roman"/>
                <a:cs typeface="Arial" pitchFamily="34" charset="0"/>
              </a:rPr>
              <a:t> </a:t>
            </a:r>
            <a:r>
              <a:rPr lang="ru-RU" sz="2100" b="1" i="1" dirty="0" err="1" smtClean="0">
                <a:latin typeface="Arial" pitchFamily="34" charset="0"/>
                <a:ea typeface="Times New Roman"/>
                <a:cs typeface="Arial" pitchFamily="34" charset="0"/>
              </a:rPr>
              <a:t>экономикалық</a:t>
            </a:r>
            <a:r>
              <a:rPr lang="ru-RU" sz="2100" b="1" i="1" dirty="0" smtClean="0">
                <a:latin typeface="Arial" pitchFamily="34" charset="0"/>
                <a:ea typeface="Times New Roman"/>
                <a:cs typeface="Arial" pitchFamily="34" charset="0"/>
              </a:rPr>
              <a:t> </a:t>
            </a:r>
            <a:r>
              <a:rPr lang="ru-RU" sz="2100" b="1" i="1" dirty="0" err="1" smtClean="0">
                <a:latin typeface="Arial" pitchFamily="34" charset="0"/>
                <a:ea typeface="Times New Roman"/>
                <a:cs typeface="Arial" pitchFamily="34" charset="0"/>
              </a:rPr>
              <a:t>және</a:t>
            </a:r>
            <a:r>
              <a:rPr lang="ru-RU" sz="2100" b="1" i="1" dirty="0" smtClean="0">
                <a:latin typeface="Arial" pitchFamily="34" charset="0"/>
                <a:ea typeface="Times New Roman"/>
                <a:cs typeface="Arial" pitchFamily="34" charset="0"/>
              </a:rPr>
              <a:t> </a:t>
            </a:r>
            <a:r>
              <a:rPr lang="ru-RU" sz="2100" b="1" i="1" dirty="0" err="1" smtClean="0">
                <a:latin typeface="Arial" pitchFamily="34" charset="0"/>
                <a:ea typeface="Times New Roman"/>
                <a:cs typeface="Arial" pitchFamily="34" charset="0"/>
              </a:rPr>
              <a:t>индустриялық</a:t>
            </a:r>
            <a:r>
              <a:rPr lang="ru-RU" sz="2100" b="1" i="1" dirty="0" smtClean="0">
                <a:latin typeface="Arial" pitchFamily="34" charset="0"/>
                <a:ea typeface="Times New Roman"/>
                <a:cs typeface="Arial" pitchFamily="34" charset="0"/>
              </a:rPr>
              <a:t> </a:t>
            </a:r>
            <a:r>
              <a:rPr lang="kk-KZ" sz="2100" b="1" i="1" dirty="0" smtClean="0">
                <a:latin typeface="Arial" pitchFamily="34" charset="0"/>
                <a:ea typeface="Times New Roman"/>
                <a:cs typeface="Arial" pitchFamily="34" charset="0"/>
              </a:rPr>
              <a:t>аймақтар </a:t>
            </a:r>
            <a:r>
              <a:rPr lang="ru-RU" sz="2100" b="1" i="1" dirty="0" err="1" smtClean="0">
                <a:latin typeface="Arial" pitchFamily="34" charset="0"/>
                <a:ea typeface="Times New Roman"/>
                <a:cs typeface="Arial" pitchFamily="34" charset="0"/>
              </a:rPr>
              <a:t>туралы</a:t>
            </a:r>
            <a:r>
              <a:rPr lang="kk-KZ" sz="2100" b="1" i="1" dirty="0" smtClean="0">
                <a:latin typeface="Arial" pitchFamily="34" charset="0"/>
                <a:ea typeface="Times New Roman"/>
                <a:cs typeface="Arial" pitchFamily="34" charset="0"/>
              </a:rPr>
              <a:t>» Заң жобасы және </a:t>
            </a:r>
            <a:r>
              <a:rPr lang="ru-RU" sz="2100" b="1" i="1" dirty="0" err="1" smtClean="0">
                <a:latin typeface="Arial" pitchFamily="34" charset="0"/>
                <a:ea typeface="Times New Roman"/>
                <a:cs typeface="Arial" pitchFamily="34" charset="0"/>
              </a:rPr>
              <a:t>ілеспе</a:t>
            </a:r>
            <a:r>
              <a:rPr lang="ru-RU" sz="2100" b="1" i="1" dirty="0" smtClean="0">
                <a:latin typeface="Arial" pitchFamily="34" charset="0"/>
                <a:ea typeface="Times New Roman"/>
                <a:cs typeface="Arial" pitchFamily="34" charset="0"/>
              </a:rPr>
              <a:t> </a:t>
            </a:r>
            <a:r>
              <a:rPr lang="ru-RU" sz="2100" b="1" i="1" dirty="0" err="1" smtClean="0">
                <a:latin typeface="Arial" pitchFamily="34" charset="0"/>
                <a:ea typeface="Times New Roman"/>
                <a:cs typeface="Arial" pitchFamily="34" charset="0"/>
              </a:rPr>
              <a:t>Заң</a:t>
            </a:r>
            <a:r>
              <a:rPr lang="ru-RU" sz="2100" b="1" i="1" dirty="0" smtClean="0">
                <a:latin typeface="Arial" pitchFamily="34" charset="0"/>
                <a:ea typeface="Times New Roman"/>
                <a:cs typeface="Arial" pitchFamily="34" charset="0"/>
              </a:rPr>
              <a:t> </a:t>
            </a:r>
            <a:r>
              <a:rPr lang="ru-RU" sz="2100" b="1" i="1" dirty="0" err="1" smtClean="0">
                <a:latin typeface="Arial" pitchFamily="34" charset="0"/>
                <a:ea typeface="Times New Roman"/>
                <a:cs typeface="Arial" pitchFamily="34" charset="0"/>
              </a:rPr>
              <a:t>жобасы</a:t>
            </a:r>
            <a:endParaRPr lang="ru-RU" sz="2100" i="1" dirty="0">
              <a:latin typeface="Arial" pitchFamily="34" charset="0"/>
              <a:ea typeface="Times New Roman"/>
              <a:cs typeface="Arial" pitchFamily="34" charset="0"/>
            </a:endParaRPr>
          </a:p>
          <a:p>
            <a:pPr marL="1928495">
              <a:lnSpc>
                <a:spcPts val="2280"/>
              </a:lnSpc>
              <a:spcBef>
                <a:spcPts val="110"/>
              </a:spcBef>
            </a:pPr>
            <a:r>
              <a:rPr lang="kk-KZ" sz="1950" b="1" spc="-240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endParaRPr sz="195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4482604" y="6681568"/>
            <a:ext cx="2304256" cy="307134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14"/>
              </a:spcBef>
            </a:pPr>
            <a:r>
              <a:rPr sz="1900" spc="5" dirty="0" err="1" smtClean="0">
                <a:solidFill>
                  <a:srgbClr val="214354"/>
                </a:solidFill>
                <a:latin typeface="Arial" pitchFamily="34" charset="0"/>
                <a:cs typeface="Arial" pitchFamily="34" charset="0"/>
              </a:rPr>
              <a:t>Астана</a:t>
            </a:r>
            <a:r>
              <a:rPr lang="ru-RU" sz="1900" spc="5" dirty="0" smtClean="0">
                <a:solidFill>
                  <a:srgbClr val="214354"/>
                </a:solidFill>
                <a:latin typeface="Arial" pitchFamily="34" charset="0"/>
                <a:cs typeface="Arial" pitchFamily="34" charset="0"/>
              </a:rPr>
              <a:t> қ. – 2017 ж.</a:t>
            </a:r>
            <a:endParaRPr sz="190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9739188" y="6157689"/>
            <a:ext cx="954212" cy="6826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0" y="361213"/>
            <a:ext cx="594360" cy="1299210"/>
          </a:xfrm>
          <a:custGeom>
            <a:avLst/>
            <a:gdLst/>
            <a:ahLst/>
            <a:cxnLst/>
            <a:rect l="l" t="t" r="r" b="b"/>
            <a:pathLst>
              <a:path w="594360" h="1299210">
                <a:moveTo>
                  <a:pt x="0" y="1298854"/>
                </a:moveTo>
                <a:lnTo>
                  <a:pt x="594356" y="1298854"/>
                </a:lnTo>
                <a:lnTo>
                  <a:pt x="594356" y="0"/>
                </a:lnTo>
                <a:lnTo>
                  <a:pt x="0" y="0"/>
                </a:lnTo>
                <a:lnTo>
                  <a:pt x="0" y="1298854"/>
                </a:lnTo>
                <a:close/>
              </a:path>
            </a:pathLst>
          </a:custGeom>
          <a:noFill/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9736455" y="361213"/>
            <a:ext cx="955675" cy="1299210"/>
          </a:xfrm>
          <a:custGeom>
            <a:avLst/>
            <a:gdLst/>
            <a:ahLst/>
            <a:cxnLst/>
            <a:rect l="l" t="t" r="r" b="b"/>
            <a:pathLst>
              <a:path w="955675" h="1299210">
                <a:moveTo>
                  <a:pt x="0" y="0"/>
                </a:moveTo>
                <a:lnTo>
                  <a:pt x="955548" y="0"/>
                </a:lnTo>
                <a:lnTo>
                  <a:pt x="955548" y="1298854"/>
                </a:lnTo>
                <a:lnTo>
                  <a:pt x="0" y="1298854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1270" y="0"/>
            <a:ext cx="10692130" cy="930383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0" tIns="189865" rIns="0" bIns="0" rtlCol="0">
            <a:spAutoFit/>
          </a:bodyPr>
          <a:lstStyle/>
          <a:p>
            <a:pPr marL="506730" marR="1546860" algn="ctr" defTabSz="1905000"/>
            <a:r>
              <a:rPr lang="ru-RU" sz="2400" b="1" spc="80" dirty="0" err="1" smtClean="0">
                <a:solidFill>
                  <a:srgbClr val="FEFEFE"/>
                </a:solidFill>
                <a:latin typeface="Arial" pitchFamily="34" charset="0"/>
                <a:cs typeface="Arial" pitchFamily="34" charset="0"/>
              </a:rPr>
              <a:t>Заң</a:t>
            </a:r>
            <a:r>
              <a:rPr lang="ru-RU" sz="2400" b="1" spc="80" dirty="0" smtClean="0">
                <a:solidFill>
                  <a:srgbClr val="FEFEFE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400" b="1" spc="80" dirty="0" err="1" smtClean="0">
                <a:solidFill>
                  <a:srgbClr val="FEFEFE"/>
                </a:solidFill>
                <a:latin typeface="Arial" pitchFamily="34" charset="0"/>
                <a:cs typeface="Arial" pitchFamily="34" charset="0"/>
              </a:rPr>
              <a:t>жобасын</a:t>
            </a:r>
            <a:r>
              <a:rPr lang="ru-RU" sz="2400" b="1" spc="80" dirty="0" smtClean="0">
                <a:solidFill>
                  <a:srgbClr val="FEFEFE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400" b="1" spc="80" dirty="0" err="1" smtClean="0">
                <a:solidFill>
                  <a:srgbClr val="FEFEFE"/>
                </a:solidFill>
                <a:latin typeface="Arial" pitchFamily="34" charset="0"/>
                <a:cs typeface="Arial" pitchFamily="34" charset="0"/>
              </a:rPr>
              <a:t>қабылдау</a:t>
            </a:r>
            <a:r>
              <a:rPr lang="ru-RU" sz="2400" b="1" spc="80" dirty="0" smtClean="0">
                <a:solidFill>
                  <a:srgbClr val="FEFEFE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400" b="1" spc="80" dirty="0" err="1" smtClean="0">
                <a:solidFill>
                  <a:srgbClr val="FEFEFE"/>
                </a:solidFill>
                <a:latin typeface="Arial" pitchFamily="34" charset="0"/>
                <a:cs typeface="Arial" pitchFamily="34" charset="0"/>
              </a:rPr>
              <a:t>келесілерге</a:t>
            </a:r>
            <a:r>
              <a:rPr lang="ru-RU" sz="2400" b="1" spc="80" dirty="0" smtClean="0">
                <a:solidFill>
                  <a:srgbClr val="FEFEFE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400" b="1" spc="80" dirty="0" err="1" smtClean="0">
                <a:solidFill>
                  <a:srgbClr val="FEFEFE"/>
                </a:solidFill>
                <a:latin typeface="Arial" pitchFamily="34" charset="0"/>
                <a:cs typeface="Arial" pitchFamily="34" charset="0"/>
              </a:rPr>
              <a:t>мүмкіндік</a:t>
            </a:r>
            <a:r>
              <a:rPr lang="ru-RU" sz="2400" b="1" spc="80" dirty="0" smtClean="0">
                <a:solidFill>
                  <a:srgbClr val="FEFEFE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400" b="1" spc="80" dirty="0" err="1" smtClean="0">
                <a:solidFill>
                  <a:srgbClr val="FEFEFE"/>
                </a:solidFill>
                <a:latin typeface="Arial" pitchFamily="34" charset="0"/>
                <a:cs typeface="Arial" pitchFamily="34" charset="0"/>
              </a:rPr>
              <a:t>береді</a:t>
            </a:r>
            <a:r>
              <a:rPr lang="ru-RU" sz="2400" b="1" spc="80" dirty="0" smtClean="0">
                <a:solidFill>
                  <a:srgbClr val="FEFEFE"/>
                </a:solidFill>
                <a:latin typeface="Arial" pitchFamily="34" charset="0"/>
                <a:cs typeface="Arial" pitchFamily="34" charset="0"/>
              </a:rPr>
              <a:t>:</a:t>
            </a:r>
            <a:endParaRPr lang="ru-RU" sz="2400" b="1" spc="80" dirty="0">
              <a:solidFill>
                <a:srgbClr val="FEFEF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3207854" y="2964980"/>
            <a:ext cx="1038860" cy="592470"/>
          </a:xfrm>
          <a:prstGeom prst="rect">
            <a:avLst/>
          </a:prstGeom>
        </p:spPr>
        <p:txBody>
          <a:bodyPr vert="horz" wrap="square" lIns="0" tIns="27940" rIns="0" bIns="0" rtlCol="0">
            <a:spAutoFit/>
          </a:bodyPr>
          <a:lstStyle/>
          <a:p>
            <a:pPr marL="12700" marR="5080" algn="ctr">
              <a:lnSpc>
                <a:spcPts val="1060"/>
              </a:lnSpc>
              <a:spcBef>
                <a:spcPts val="220"/>
              </a:spcBef>
            </a:pPr>
            <a:r>
              <a:rPr lang="ru-RU" sz="1050" spc="0" dirty="0" smtClean="0">
                <a:solidFill>
                  <a:srgbClr val="FEFEFE"/>
                </a:solidFill>
                <a:latin typeface="Arial" pitchFamily="34" charset="0"/>
                <a:cs typeface="Arial" pitchFamily="34" charset="0"/>
              </a:rPr>
              <a:t>Привлечения иностранных инвестиции в СЭЗ и ИЗ</a:t>
            </a:r>
            <a:endParaRPr sz="105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4452203" y="4206773"/>
            <a:ext cx="1038860" cy="451406"/>
          </a:xfrm>
          <a:prstGeom prst="rect">
            <a:avLst/>
          </a:prstGeom>
        </p:spPr>
        <p:txBody>
          <a:bodyPr vert="horz" wrap="square" lIns="0" tIns="27940" rIns="0" bIns="0" rtlCol="0">
            <a:spAutoFit/>
          </a:bodyPr>
          <a:lstStyle/>
          <a:p>
            <a:pPr marL="12700" marR="5080" algn="ctr">
              <a:lnSpc>
                <a:spcPts val="1060"/>
              </a:lnSpc>
              <a:spcBef>
                <a:spcPts val="220"/>
              </a:spcBef>
            </a:pPr>
            <a:r>
              <a:rPr lang="ru-RU" sz="1050" spc="0" dirty="0" smtClean="0">
                <a:solidFill>
                  <a:srgbClr val="FEFEFE"/>
                </a:solidFill>
                <a:latin typeface="Arial" pitchFamily="34" charset="0"/>
                <a:cs typeface="Arial" pitchFamily="34" charset="0"/>
              </a:rPr>
              <a:t>Создание новых рабочих мест</a:t>
            </a:r>
            <a:endParaRPr sz="1050" dirty="0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8" name="Группа 17"/>
          <p:cNvGrpSpPr/>
          <p:nvPr/>
        </p:nvGrpSpPr>
        <p:grpSpPr>
          <a:xfrm>
            <a:off x="594362" y="1912443"/>
            <a:ext cx="851326" cy="1216178"/>
            <a:chOff x="0" y="552"/>
            <a:chExt cx="851326" cy="1216178"/>
          </a:xfrm>
        </p:grpSpPr>
        <p:sp>
          <p:nvSpPr>
            <p:cNvPr id="19" name="Нашивка 18"/>
            <p:cNvSpPr/>
            <p:nvPr/>
          </p:nvSpPr>
          <p:spPr>
            <a:xfrm rot="5400000">
              <a:off x="-182426" y="182978"/>
              <a:ext cx="1216178" cy="851325"/>
            </a:xfrm>
            <a:prstGeom prst="chevron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" name="Нашивка 4"/>
            <p:cNvSpPr/>
            <p:nvPr/>
          </p:nvSpPr>
          <p:spPr>
            <a:xfrm>
              <a:off x="1" y="426215"/>
              <a:ext cx="851325" cy="36485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5240" tIns="15240" rIns="15240" bIns="15240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2400" b="1" kern="12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1" name="Группа 20"/>
          <p:cNvGrpSpPr/>
          <p:nvPr/>
        </p:nvGrpSpPr>
        <p:grpSpPr>
          <a:xfrm>
            <a:off x="1661586" y="1942848"/>
            <a:ext cx="8334000" cy="790516"/>
            <a:chOff x="851325" y="552"/>
            <a:chExt cx="7357586" cy="790516"/>
          </a:xfrm>
        </p:grpSpPr>
        <p:sp>
          <p:nvSpPr>
            <p:cNvPr id="22" name="Прямоугольник с двумя скругленными соседними углами 21"/>
            <p:cNvSpPr/>
            <p:nvPr/>
          </p:nvSpPr>
          <p:spPr>
            <a:xfrm rot="5400000">
              <a:off x="4134860" y="-3282983"/>
              <a:ext cx="790516" cy="7357586"/>
            </a:xfrm>
            <a:prstGeom prst="round2Same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3" name="Прямоугольник 22"/>
            <p:cNvSpPr/>
            <p:nvPr/>
          </p:nvSpPr>
          <p:spPr>
            <a:xfrm>
              <a:off x="851325" y="39142"/>
              <a:ext cx="7318996" cy="71333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20904" tIns="10795" rIns="10795" bIns="10795" numCol="1" spcCol="1270" anchor="ctr" anchorCtr="0">
              <a:noAutofit/>
            </a:bodyPr>
            <a:lstStyle/>
            <a:p>
              <a:pPr lvl="0"/>
              <a:r>
                <a:rPr lang="ru-RU" b="1" dirty="0" err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Заңнамалық</a:t>
              </a:r>
              <a:r>
                <a:rPr lang="ru-RU" b="1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b="1" dirty="0" err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кедергілерді</a:t>
              </a:r>
              <a:r>
                <a:rPr lang="ru-RU" b="1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b="1" dirty="0" err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жою</a:t>
              </a:r>
              <a:endParaRPr lang="ru-RU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4" name="Группа 23"/>
          <p:cNvGrpSpPr/>
          <p:nvPr/>
        </p:nvGrpSpPr>
        <p:grpSpPr>
          <a:xfrm>
            <a:off x="594361" y="2995263"/>
            <a:ext cx="851326" cy="1216178"/>
            <a:chOff x="0" y="552"/>
            <a:chExt cx="851326" cy="1216178"/>
          </a:xfrm>
        </p:grpSpPr>
        <p:sp>
          <p:nvSpPr>
            <p:cNvPr id="25" name="Нашивка 24"/>
            <p:cNvSpPr/>
            <p:nvPr/>
          </p:nvSpPr>
          <p:spPr>
            <a:xfrm rot="5400000">
              <a:off x="-182426" y="182978"/>
              <a:ext cx="1216178" cy="851325"/>
            </a:xfrm>
            <a:prstGeom prst="chevron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9" name="Нашивка 4"/>
            <p:cNvSpPr/>
            <p:nvPr/>
          </p:nvSpPr>
          <p:spPr>
            <a:xfrm>
              <a:off x="1" y="426215"/>
              <a:ext cx="851325" cy="36485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5240" tIns="15240" rIns="15240" bIns="15240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2400" b="1" kern="12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51" name="Группа 50"/>
          <p:cNvGrpSpPr/>
          <p:nvPr/>
        </p:nvGrpSpPr>
        <p:grpSpPr>
          <a:xfrm>
            <a:off x="1661586" y="2995262"/>
            <a:ext cx="8334000" cy="790516"/>
            <a:chOff x="851325" y="552"/>
            <a:chExt cx="7357586" cy="790516"/>
          </a:xfrm>
        </p:grpSpPr>
        <p:sp>
          <p:nvSpPr>
            <p:cNvPr id="52" name="Прямоугольник с двумя скругленными соседними углами 51"/>
            <p:cNvSpPr/>
            <p:nvPr/>
          </p:nvSpPr>
          <p:spPr>
            <a:xfrm rot="5400000">
              <a:off x="4134860" y="-3282983"/>
              <a:ext cx="790516" cy="7357586"/>
            </a:xfrm>
            <a:prstGeom prst="round2Same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53" name="Прямоугольник 52"/>
            <p:cNvSpPr/>
            <p:nvPr/>
          </p:nvSpPr>
          <p:spPr>
            <a:xfrm>
              <a:off x="851325" y="39142"/>
              <a:ext cx="7318996" cy="71333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20904" tIns="10795" rIns="10795" bIns="10795" numCol="1" spcCol="1270" anchor="ctr" anchorCtr="0">
              <a:noAutofit/>
            </a:bodyPr>
            <a:lstStyle/>
            <a:p>
              <a:r>
                <a:rPr lang="ru-RU" b="1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АЭА </a:t>
              </a:r>
              <a:r>
                <a:rPr lang="ru-RU" b="1" dirty="0" err="1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және</a:t>
              </a:r>
              <a:r>
                <a:rPr lang="ru-RU" b="1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 ИА </a:t>
              </a:r>
              <a:r>
                <a:rPr lang="ru-RU" b="1" dirty="0" err="1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аумақтарын</a:t>
              </a:r>
              <a:r>
                <a:rPr lang="ru-RU" b="1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b="1" dirty="0" err="1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сапалы</a:t>
              </a:r>
              <a:r>
                <a:rPr lang="ru-RU" b="1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b="1" dirty="0" err="1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жобаларымен</a:t>
              </a:r>
              <a:r>
                <a:rPr lang="ru-RU" b="1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b="1" dirty="0" err="1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толықтыру</a:t>
              </a:r>
              <a:endParaRPr lang="ru-RU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54" name="Группа 53"/>
          <p:cNvGrpSpPr/>
          <p:nvPr/>
        </p:nvGrpSpPr>
        <p:grpSpPr>
          <a:xfrm>
            <a:off x="594360" y="4037901"/>
            <a:ext cx="851326" cy="1216178"/>
            <a:chOff x="0" y="552"/>
            <a:chExt cx="851326" cy="1216178"/>
          </a:xfrm>
        </p:grpSpPr>
        <p:sp>
          <p:nvSpPr>
            <p:cNvPr id="55" name="Нашивка 54"/>
            <p:cNvSpPr/>
            <p:nvPr/>
          </p:nvSpPr>
          <p:spPr>
            <a:xfrm rot="5400000">
              <a:off x="-182426" y="182978"/>
              <a:ext cx="1216178" cy="851325"/>
            </a:xfrm>
            <a:prstGeom prst="chevron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6" name="Нашивка 4"/>
            <p:cNvSpPr/>
            <p:nvPr/>
          </p:nvSpPr>
          <p:spPr>
            <a:xfrm>
              <a:off x="1" y="426215"/>
              <a:ext cx="851325" cy="36485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5240" tIns="15240" rIns="15240" bIns="15240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2400" b="1" kern="12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57" name="Группа 56"/>
          <p:cNvGrpSpPr/>
          <p:nvPr/>
        </p:nvGrpSpPr>
        <p:grpSpPr>
          <a:xfrm>
            <a:off x="1639022" y="3985641"/>
            <a:ext cx="8379129" cy="1062946"/>
            <a:chOff x="851325" y="552"/>
            <a:chExt cx="7357586" cy="800478"/>
          </a:xfrm>
        </p:grpSpPr>
        <p:sp>
          <p:nvSpPr>
            <p:cNvPr id="58" name="Прямоугольник с двумя скругленными соседними углами 57"/>
            <p:cNvSpPr/>
            <p:nvPr/>
          </p:nvSpPr>
          <p:spPr>
            <a:xfrm rot="5400000">
              <a:off x="4134860" y="-3282983"/>
              <a:ext cx="790516" cy="7357586"/>
            </a:xfrm>
            <a:prstGeom prst="round2Same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59" name="Прямоугольник 58"/>
            <p:cNvSpPr/>
            <p:nvPr/>
          </p:nvSpPr>
          <p:spPr>
            <a:xfrm>
              <a:off x="851325" y="39141"/>
              <a:ext cx="7318996" cy="76188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20904" tIns="10795" rIns="10795" bIns="10795" numCol="1" spcCol="1270" anchor="ctr" anchorCtr="0">
              <a:noAutofit/>
            </a:bodyPr>
            <a:lstStyle/>
            <a:p>
              <a:pPr lvl="0">
                <a:defRPr/>
              </a:pPr>
              <a:r>
                <a:rPr lang="ru-RU" b="1" spc="15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АЭА </a:t>
              </a:r>
              <a:r>
                <a:rPr lang="ru-RU" b="1" spc="15" dirty="0" err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және</a:t>
              </a:r>
              <a:r>
                <a:rPr lang="ru-RU" b="1" spc="15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 ИА </a:t>
              </a:r>
              <a:r>
                <a:rPr lang="ru-RU" b="1" spc="15" dirty="0" err="1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үшін</a:t>
              </a:r>
              <a:r>
                <a:rPr lang="ru-RU" b="1" spc="15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b="1" spc="15" dirty="0" err="1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жер</a:t>
              </a:r>
              <a:r>
                <a:rPr lang="ru-RU" b="1" spc="15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b="1" spc="15" dirty="0" err="1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учаскелерін</a:t>
              </a:r>
              <a:r>
                <a:rPr lang="ru-RU" b="1" spc="15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b="1" spc="15" dirty="0" err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бөлу</a:t>
              </a:r>
              <a:r>
                <a:rPr lang="ru-RU" b="1" spc="15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b="1" spc="15" dirty="0" err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процестерін</a:t>
              </a:r>
              <a:r>
                <a:rPr lang="ru-RU" b="1" spc="15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b="1" spc="15" dirty="0" err="1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оңтайландыру</a:t>
              </a:r>
              <a:endParaRPr lang="ru-RU" sz="900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66" name="Группа 65"/>
          <p:cNvGrpSpPr/>
          <p:nvPr/>
        </p:nvGrpSpPr>
        <p:grpSpPr>
          <a:xfrm>
            <a:off x="594172" y="5149577"/>
            <a:ext cx="851325" cy="1216178"/>
            <a:chOff x="0" y="552"/>
            <a:chExt cx="851325" cy="1216178"/>
          </a:xfrm>
        </p:grpSpPr>
        <p:sp>
          <p:nvSpPr>
            <p:cNvPr id="67" name="Нашивка 66"/>
            <p:cNvSpPr/>
            <p:nvPr/>
          </p:nvSpPr>
          <p:spPr>
            <a:xfrm rot="5400000">
              <a:off x="-182426" y="182978"/>
              <a:ext cx="1216178" cy="851325"/>
            </a:xfrm>
            <a:prstGeom prst="chevron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8" name="Нашивка 4"/>
            <p:cNvSpPr/>
            <p:nvPr/>
          </p:nvSpPr>
          <p:spPr>
            <a:xfrm>
              <a:off x="0" y="504608"/>
              <a:ext cx="851325" cy="36485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5240" tIns="15240" rIns="15240" bIns="15240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2400" b="1" kern="12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69" name="Группа 68"/>
          <p:cNvGrpSpPr/>
          <p:nvPr/>
        </p:nvGrpSpPr>
        <p:grpSpPr>
          <a:xfrm>
            <a:off x="1674292" y="5221585"/>
            <a:ext cx="8334000" cy="862524"/>
            <a:chOff x="787753" y="-719528"/>
            <a:chExt cx="7357586" cy="862524"/>
          </a:xfrm>
        </p:grpSpPr>
        <p:sp>
          <p:nvSpPr>
            <p:cNvPr id="70" name="Прямоугольник с двумя скругленными соседними углами 69"/>
            <p:cNvSpPr/>
            <p:nvPr/>
          </p:nvSpPr>
          <p:spPr>
            <a:xfrm rot="5400000">
              <a:off x="4071288" y="-3931055"/>
              <a:ext cx="790516" cy="7357586"/>
            </a:xfrm>
            <a:prstGeom prst="round2Same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71" name="Прямоугольник 70"/>
            <p:cNvSpPr/>
            <p:nvPr/>
          </p:nvSpPr>
          <p:spPr>
            <a:xfrm>
              <a:off x="787754" y="-719528"/>
              <a:ext cx="7318996" cy="71333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20904" tIns="10795" rIns="10795" bIns="10795" numCol="1" spcCol="1270" anchor="ctr" anchorCtr="0">
              <a:noAutofit/>
            </a:bodyPr>
            <a:lstStyle/>
            <a:p>
              <a:pPr lvl="0"/>
              <a:r>
                <a:rPr lang="ru-RU" b="1" spc="15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АЭА </a:t>
              </a:r>
              <a:r>
                <a:rPr lang="ru-RU" b="1" spc="15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мен ИА </a:t>
              </a:r>
              <a:r>
                <a:rPr lang="ru-RU" b="1" spc="15" dirty="0" err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инвестициялық</a:t>
              </a:r>
              <a:r>
                <a:rPr lang="ru-RU" b="1" spc="15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b="1" spc="15" dirty="0" err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тартымдылығын</a:t>
              </a:r>
              <a:r>
                <a:rPr lang="ru-RU" b="1" spc="15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b="1" spc="15" dirty="0" err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арттыру</a:t>
              </a:r>
              <a:endParaRPr lang="ru-RU" dirty="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9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8240803" y="7118178"/>
            <a:ext cx="2406015" cy="402652"/>
          </a:xfrm>
          <a:prstGeom prst="rect">
            <a:avLst/>
          </a:prstGeom>
        </p:spPr>
        <p:txBody>
          <a:bodyPr lIns="104315" tIns="52157" rIns="104315" bIns="52157"/>
          <a:lstStyle/>
          <a:p>
            <a:pPr algn="r"/>
            <a:fld id="{E7E4A56A-6CFF-441F-ACD8-679C2267E3E3}" type="slidenum">
              <a:rPr lang="ru-RU" smtClean="0"/>
              <a:pPr algn="r"/>
              <a:t>10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283055" y="3173095"/>
            <a:ext cx="9409430" cy="2719070"/>
          </a:xfrm>
          <a:custGeom>
            <a:avLst/>
            <a:gdLst/>
            <a:ahLst/>
            <a:cxnLst/>
            <a:rect l="l" t="t" r="r" b="b"/>
            <a:pathLst>
              <a:path w="9409430" h="2719070">
                <a:moveTo>
                  <a:pt x="9408947" y="0"/>
                </a:moveTo>
                <a:lnTo>
                  <a:pt x="0" y="0"/>
                </a:lnTo>
                <a:lnTo>
                  <a:pt x="1259979" y="2710827"/>
                </a:lnTo>
                <a:lnTo>
                  <a:pt x="9408947" y="2718574"/>
                </a:lnTo>
                <a:lnTo>
                  <a:pt x="9408947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1283055" y="3360661"/>
            <a:ext cx="9409430" cy="2531110"/>
          </a:xfrm>
          <a:custGeom>
            <a:avLst/>
            <a:gdLst/>
            <a:ahLst/>
            <a:cxnLst/>
            <a:rect l="l" t="t" r="r" b="b"/>
            <a:pathLst>
              <a:path w="9409430" h="2531110">
                <a:moveTo>
                  <a:pt x="9408947" y="0"/>
                </a:moveTo>
                <a:lnTo>
                  <a:pt x="0" y="0"/>
                </a:lnTo>
                <a:lnTo>
                  <a:pt x="1259979" y="2523794"/>
                </a:lnTo>
                <a:lnTo>
                  <a:pt x="9408947" y="2531008"/>
                </a:lnTo>
                <a:lnTo>
                  <a:pt x="9408947" y="0"/>
                </a:lnTo>
                <a:close/>
              </a:path>
            </a:pathLst>
          </a:custGeom>
          <a:solidFill>
            <a:srgbClr val="C5C6C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3565800" y="3738613"/>
            <a:ext cx="7037484" cy="383438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algn="ctr">
              <a:spcAft>
                <a:spcPts val="0"/>
              </a:spcAft>
            </a:pPr>
            <a:r>
              <a:rPr lang="ru-RU" sz="2400" b="1" spc="50" dirty="0" err="1" smtClean="0">
                <a:latin typeface="Arial" pitchFamily="34" charset="0"/>
                <a:cs typeface="Arial" pitchFamily="34" charset="0"/>
              </a:rPr>
              <a:t>Назарларыңызға</a:t>
            </a:r>
            <a:r>
              <a:rPr lang="ru-RU" sz="2400" b="1" spc="5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2400" b="1" spc="50" dirty="0" err="1">
                <a:latin typeface="Arial" pitchFamily="34" charset="0"/>
                <a:cs typeface="Arial" pitchFamily="34" charset="0"/>
              </a:rPr>
              <a:t>рахмет</a:t>
            </a:r>
            <a:r>
              <a:rPr lang="ru-RU" sz="2400" b="1" spc="50" dirty="0">
                <a:latin typeface="Arial" pitchFamily="34" charset="0"/>
                <a:cs typeface="Arial" pitchFamily="34" charset="0"/>
              </a:rPr>
              <a:t>!</a:t>
            </a:r>
            <a:endParaRPr sz="195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9739188" y="6157689"/>
            <a:ext cx="954212" cy="6826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1561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918337" y="1149809"/>
            <a:ext cx="4138815" cy="659331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square" lIns="104315" tIns="52157" rIns="104315" bIns="52157" rtlCol="0">
            <a:spAutoFit/>
          </a:bodyPr>
          <a:lstStyle/>
          <a:p>
            <a:pPr algn="ctr"/>
            <a:r>
              <a:rPr lang="ru-RU" b="1" dirty="0" err="1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Әлемде</a:t>
            </a:r>
            <a:r>
              <a:rPr lang="ru-RU" b="1" dirty="0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dirty="0">
                <a:latin typeface="Arial" pitchFamily="34" charset="0"/>
                <a:cs typeface="Arial" pitchFamily="34" charset="0"/>
              </a:rPr>
              <a:t>3500</a:t>
            </a:r>
            <a:r>
              <a:rPr lang="ru-RU" b="1" dirty="0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dirty="0" err="1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астам</a:t>
            </a:r>
            <a:r>
              <a:rPr lang="ru-RU" b="1" dirty="0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dirty="0" err="1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арнайы</a:t>
            </a:r>
            <a:r>
              <a:rPr lang="ru-RU" b="1" dirty="0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dirty="0" err="1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экономикалық</a:t>
            </a:r>
            <a:r>
              <a:rPr lang="ru-RU" b="1" dirty="0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dirty="0" err="1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аймақтар</a:t>
            </a:r>
            <a:r>
              <a:rPr lang="ru-RU" b="1" dirty="0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dirty="0" err="1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құрылды</a:t>
            </a:r>
            <a:endParaRPr lang="ru-RU" b="1" dirty="0">
              <a:solidFill>
                <a:srgbClr val="4BACC6">
                  <a:lumMod val="7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1882613" y="1149808"/>
            <a:ext cx="4267078" cy="711134"/>
          </a:xfrm>
          <a:prstGeom prst="roundRect">
            <a:avLst/>
          </a:prstGeom>
          <a:noFill/>
          <a:ln>
            <a:solidFill>
              <a:srgbClr val="00206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15" tIns="52157" rIns="104315" bIns="52157"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068451" y="2260631"/>
            <a:ext cx="4203804" cy="659331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square" lIns="104315" tIns="52157" rIns="104315" bIns="52157" rtlCol="0">
            <a:spAutoFit/>
          </a:bodyPr>
          <a:lstStyle/>
          <a:p>
            <a:pPr algn="ctr"/>
            <a:r>
              <a:rPr lang="en-US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30%</a:t>
            </a:r>
            <a:r>
              <a:rPr lang="en-US" b="1" dirty="0" smtClean="0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dirty="0" err="1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жобалар</a:t>
            </a:r>
            <a:r>
              <a:rPr lang="ru-RU" b="1" dirty="0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dirty="0" err="1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түрінде</a:t>
            </a:r>
            <a:r>
              <a:rPr lang="ru-RU" b="1" dirty="0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dirty="0" err="1" smtClean="0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қалған</a:t>
            </a:r>
            <a:endParaRPr lang="ru-RU" b="1" dirty="0" smtClean="0">
              <a:solidFill>
                <a:srgbClr val="4BACC6">
                  <a:lumMod val="75000"/>
                </a:srgbClr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70%</a:t>
            </a:r>
            <a:r>
              <a:rPr lang="ru-RU" b="1" dirty="0" smtClean="0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dirty="0" err="1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жүзеге</a:t>
            </a:r>
            <a:r>
              <a:rPr lang="ru-RU" b="1" dirty="0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dirty="0" err="1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асырылуда</a:t>
            </a:r>
            <a:endParaRPr lang="ru-RU" b="1" dirty="0">
              <a:solidFill>
                <a:srgbClr val="4BACC6">
                  <a:lumMod val="7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4068449" y="2274390"/>
            <a:ext cx="4203804" cy="711134"/>
          </a:xfrm>
          <a:prstGeom prst="roundRect">
            <a:avLst/>
          </a:prstGeom>
          <a:noFill/>
          <a:ln>
            <a:solidFill>
              <a:srgbClr val="00206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15" tIns="52157" rIns="104315" bIns="52157"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973171" y="3361510"/>
            <a:ext cx="4720229" cy="659331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square" lIns="104315" tIns="52157" rIns="104315" bIns="52157" rtlCol="0">
            <a:spAutoFit/>
          </a:bodyPr>
          <a:lstStyle/>
          <a:p>
            <a:pPr algn="ctr"/>
            <a:r>
              <a:rPr lang="ru-RU" b="1" dirty="0" err="1" smtClean="0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Олардың</a:t>
            </a:r>
            <a:r>
              <a:rPr lang="ru-RU" b="1" dirty="0" smtClean="0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dirty="0" err="1" smtClean="0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ішінде</a:t>
            </a:r>
            <a:r>
              <a:rPr lang="ru-RU" b="1" dirty="0" smtClean="0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dirty="0" err="1" smtClean="0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қолданыстағы</a:t>
            </a:r>
            <a:r>
              <a:rPr lang="ru-RU" b="1" dirty="0" smtClean="0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dirty="0" smtClean="0">
                <a:latin typeface="Arial" pitchFamily="34" charset="0"/>
                <a:cs typeface="Arial" pitchFamily="34" charset="0"/>
              </a:rPr>
              <a:t>1%</a:t>
            </a:r>
            <a:r>
              <a:rPr lang="ru-RU" b="1" dirty="0" smtClean="0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-</a:t>
            </a:r>
            <a:r>
              <a:rPr lang="ru-RU" b="1" dirty="0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ы </a:t>
            </a:r>
            <a:r>
              <a:rPr lang="ru-RU" b="1" dirty="0" err="1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маңызды</a:t>
            </a:r>
            <a:r>
              <a:rPr lang="ru-RU" b="1" dirty="0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dirty="0" err="1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нәтижелерге</a:t>
            </a:r>
            <a:r>
              <a:rPr lang="ru-RU" b="1" dirty="0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dirty="0" err="1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қол</a:t>
            </a:r>
            <a:r>
              <a:rPr lang="ru-RU" b="1" dirty="0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dirty="0" err="1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жеткізді</a:t>
            </a:r>
            <a:r>
              <a:rPr lang="ru-RU" b="1" dirty="0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: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82534" y="1149809"/>
            <a:ext cx="1755261" cy="736275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square" lIns="104315" tIns="52157" rIns="104315" bIns="52157" rtlCol="0">
            <a:spAutoFit/>
          </a:bodyPr>
          <a:lstStyle/>
          <a:p>
            <a:pPr algn="ctr"/>
            <a:r>
              <a:rPr lang="ru-RU" sz="41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3500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232646" y="2272765"/>
            <a:ext cx="1755261" cy="736275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square" lIns="104315" tIns="52157" rIns="104315" bIns="52157" rtlCol="0">
            <a:spAutoFit/>
          </a:bodyPr>
          <a:lstStyle/>
          <a:p>
            <a:pPr algn="ctr"/>
            <a:r>
              <a:rPr lang="ru-RU" sz="41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30/70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217910" y="3349376"/>
            <a:ext cx="1755261" cy="736275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square" lIns="104315" tIns="52157" rIns="104315" bIns="52157" rtlCol="0">
            <a:spAutoFit/>
          </a:bodyPr>
          <a:lstStyle/>
          <a:p>
            <a:pPr algn="ctr"/>
            <a:r>
              <a:rPr lang="ru-RU" sz="4100" b="1" dirty="0">
                <a:solidFill>
                  <a:srgbClr val="548235"/>
                </a:solidFill>
                <a:latin typeface="Arial" pitchFamily="34" charset="0"/>
                <a:cs typeface="Arial" pitchFamily="34" charset="0"/>
              </a:rPr>
              <a:t>1%</a:t>
            </a: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5973171" y="3382527"/>
            <a:ext cx="4599171" cy="711134"/>
          </a:xfrm>
          <a:prstGeom prst="roundRect">
            <a:avLst/>
          </a:prstGeom>
          <a:noFill/>
          <a:ln>
            <a:solidFill>
              <a:srgbClr val="00206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15" tIns="52157" rIns="104315" bIns="52157"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898653" y="5177636"/>
            <a:ext cx="3405882" cy="751663"/>
          </a:xfrm>
          <a:prstGeom prst="rect">
            <a:avLst/>
          </a:prstGeom>
          <a:noFill/>
        </p:spPr>
        <p:txBody>
          <a:bodyPr wrap="square" lIns="104315" tIns="52157" rIns="104315" bIns="52157" rtlCol="0">
            <a:spAutoFit/>
          </a:bodyPr>
          <a:lstStyle/>
          <a:p>
            <a:pPr marL="325984" indent="-325984">
              <a:buFont typeface="Wingdings" panose="05000000000000000000" pitchFamily="2" charset="2"/>
              <a:buChar char="Ø"/>
            </a:pPr>
            <a:r>
              <a:rPr lang="ru-RU" sz="1400" b="1" dirty="0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«</a:t>
            </a:r>
            <a:r>
              <a:rPr lang="en-US" sz="1400" b="1" dirty="0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Jebel Ali Free Zone</a:t>
            </a:r>
            <a:r>
              <a:rPr lang="ru-RU" sz="1400" b="1" dirty="0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» - </a:t>
            </a:r>
            <a:r>
              <a:rPr lang="ru-RU" sz="14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БАӘ </a:t>
            </a:r>
            <a:endParaRPr lang="en-US" sz="14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325984" indent="-325984">
              <a:buFont typeface="Wingdings" panose="05000000000000000000" pitchFamily="2" charset="2"/>
              <a:buChar char="Ø"/>
            </a:pPr>
            <a:endParaRPr lang="ru-RU" sz="1400" b="1" dirty="0">
              <a:solidFill>
                <a:srgbClr val="4BACC6">
                  <a:lumMod val="75000"/>
                </a:srgbClr>
              </a:solidFill>
              <a:latin typeface="Arial" pitchFamily="34" charset="0"/>
              <a:cs typeface="Arial" pitchFamily="34" charset="0"/>
            </a:endParaRPr>
          </a:p>
          <a:p>
            <a:pPr marL="325984" indent="-325984">
              <a:buFont typeface="Wingdings" panose="05000000000000000000" pitchFamily="2" charset="2"/>
              <a:buChar char="Ø"/>
            </a:pPr>
            <a:r>
              <a:rPr lang="ru-RU" sz="1400" b="1" dirty="0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«</a:t>
            </a:r>
            <a:r>
              <a:rPr lang="en-US" sz="1400" b="1" dirty="0" err="1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Jurong</a:t>
            </a:r>
            <a:r>
              <a:rPr lang="ru-RU" sz="1400" b="1" dirty="0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» - </a:t>
            </a:r>
            <a:r>
              <a:rPr lang="ru-RU" sz="14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Сингапур</a:t>
            </a:r>
            <a:endParaRPr lang="en-US" sz="14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82534" y="5177636"/>
            <a:ext cx="3736252" cy="751663"/>
          </a:xfrm>
          <a:prstGeom prst="rect">
            <a:avLst/>
          </a:prstGeom>
          <a:noFill/>
        </p:spPr>
        <p:txBody>
          <a:bodyPr wrap="square" lIns="104315" tIns="52157" rIns="104315" bIns="52157" rtlCol="0">
            <a:spAutoFit/>
          </a:bodyPr>
          <a:lstStyle/>
          <a:p>
            <a:pPr marL="325984" indent="-325984">
              <a:buFont typeface="Wingdings" panose="05000000000000000000" pitchFamily="2" charset="2"/>
              <a:buChar char="Ø"/>
            </a:pPr>
            <a:r>
              <a:rPr lang="ru-RU" sz="1400" b="1" dirty="0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«</a:t>
            </a:r>
            <a:r>
              <a:rPr lang="en-US" sz="1400" b="1" dirty="0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Shenzhen</a:t>
            </a:r>
            <a:r>
              <a:rPr lang="ru-RU" sz="1400" b="1" dirty="0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b="1" dirty="0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Free Trade Zone</a:t>
            </a:r>
            <a:r>
              <a:rPr lang="ru-RU" sz="1400" b="1" dirty="0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»</a:t>
            </a:r>
            <a:r>
              <a:rPr lang="en-US" sz="1400" b="1" dirty="0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- </a:t>
            </a:r>
            <a:r>
              <a:rPr lang="ru-RU" sz="1400" b="1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Қытай</a:t>
            </a:r>
            <a:endParaRPr lang="ru-RU" sz="1400" b="1" dirty="0">
              <a:solidFill>
                <a:srgbClr val="4BACC6">
                  <a:lumMod val="75000"/>
                </a:srgbClr>
              </a:solidFill>
              <a:latin typeface="Arial" pitchFamily="34" charset="0"/>
              <a:cs typeface="Arial" pitchFamily="34" charset="0"/>
            </a:endParaRPr>
          </a:p>
          <a:p>
            <a:pPr marL="325984" indent="-325984">
              <a:buFont typeface="Wingdings" panose="05000000000000000000" pitchFamily="2" charset="2"/>
              <a:buChar char="Ø"/>
            </a:pPr>
            <a:endParaRPr lang="ru-RU" sz="1400" b="1" dirty="0">
              <a:solidFill>
                <a:srgbClr val="4BACC6">
                  <a:lumMod val="75000"/>
                </a:srgbClr>
              </a:solidFill>
              <a:latin typeface="Arial" pitchFamily="34" charset="0"/>
              <a:cs typeface="Arial" pitchFamily="34" charset="0"/>
            </a:endParaRPr>
          </a:p>
          <a:p>
            <a:pPr marL="325984" indent="-325984">
              <a:buFont typeface="Wingdings" panose="05000000000000000000" pitchFamily="2" charset="2"/>
              <a:buChar char="Ø"/>
            </a:pPr>
            <a:r>
              <a:rPr lang="ru-RU" sz="1400" b="1" dirty="0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«</a:t>
            </a:r>
            <a:r>
              <a:rPr lang="en-US" sz="1400" b="1" dirty="0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Suzhou Industrial Park</a:t>
            </a:r>
            <a:r>
              <a:rPr lang="ru-RU" sz="1400" b="1" dirty="0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» - </a:t>
            </a:r>
            <a:r>
              <a:rPr lang="ru-RU" sz="1400" b="1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Қытай</a:t>
            </a:r>
            <a:endParaRPr lang="en-US" sz="14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095432" y="5182604"/>
            <a:ext cx="3666014" cy="751663"/>
          </a:xfrm>
          <a:prstGeom prst="rect">
            <a:avLst/>
          </a:prstGeom>
          <a:noFill/>
        </p:spPr>
        <p:txBody>
          <a:bodyPr wrap="square" lIns="104315" tIns="52157" rIns="104315" bIns="52157" rtlCol="0">
            <a:spAutoFit/>
          </a:bodyPr>
          <a:lstStyle/>
          <a:p>
            <a:pPr marL="325984" indent="-325984">
              <a:buFont typeface="Wingdings" panose="05000000000000000000" pitchFamily="2" charset="2"/>
              <a:buChar char="Ø"/>
            </a:pPr>
            <a:r>
              <a:rPr lang="ru-RU" sz="1400" b="1" dirty="0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«</a:t>
            </a:r>
            <a:r>
              <a:rPr lang="en-US" sz="1400" b="1" dirty="0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Shannon Free Zone</a:t>
            </a:r>
            <a:r>
              <a:rPr lang="ru-RU" sz="1400" b="1" dirty="0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» - </a:t>
            </a:r>
            <a:r>
              <a:rPr lang="ru-RU" sz="14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Ирландия</a:t>
            </a:r>
            <a:r>
              <a:rPr lang="ru-RU" sz="1400" b="1" dirty="0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marL="325984" indent="-325984">
              <a:buFont typeface="Wingdings" panose="05000000000000000000" pitchFamily="2" charset="2"/>
              <a:buChar char="Ø"/>
            </a:pPr>
            <a:endParaRPr lang="ru-RU" sz="1400" b="1" dirty="0">
              <a:solidFill>
                <a:srgbClr val="4BACC6">
                  <a:lumMod val="75000"/>
                </a:srgbClr>
              </a:solidFill>
              <a:latin typeface="Arial" pitchFamily="34" charset="0"/>
              <a:cs typeface="Arial" pitchFamily="34" charset="0"/>
            </a:endParaRPr>
          </a:p>
          <a:p>
            <a:pPr marL="325984" indent="-325984">
              <a:buFont typeface="Wingdings" panose="05000000000000000000" pitchFamily="2" charset="2"/>
              <a:buChar char="Ø"/>
            </a:pPr>
            <a:r>
              <a:rPr lang="ru-RU" sz="1400" b="1" dirty="0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«</a:t>
            </a:r>
            <a:r>
              <a:rPr lang="en-US" sz="1400" b="1" dirty="0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Katowice SEZ</a:t>
            </a:r>
            <a:r>
              <a:rPr lang="ru-RU" sz="1400" b="1" dirty="0">
                <a:solidFill>
                  <a:srgbClr val="4BACC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» - </a:t>
            </a:r>
            <a:r>
              <a:rPr lang="ru-RU" sz="14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Польша</a:t>
            </a:r>
            <a:endParaRPr lang="en-US" sz="14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82534" y="5146111"/>
            <a:ext cx="10489809" cy="846107"/>
          </a:xfrm>
          <a:prstGeom prst="roundRect">
            <a:avLst/>
          </a:prstGeom>
          <a:noFill/>
          <a:ln>
            <a:solidFill>
              <a:srgbClr val="00206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15" tIns="52157" rIns="104315" bIns="52157"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2425780" y="2262257"/>
            <a:ext cx="1392172" cy="711134"/>
          </a:xfrm>
          <a:prstGeom prst="roundRect">
            <a:avLst/>
          </a:prstGeom>
          <a:noFill/>
          <a:ln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15" tIns="52157" rIns="104315" bIns="52157" rtlCol="0" anchor="ctr"/>
          <a:lstStyle/>
          <a:p>
            <a:pPr algn="ctr"/>
            <a:endParaRPr lang="ru-RU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264078" y="1149808"/>
            <a:ext cx="1392172" cy="711134"/>
          </a:xfrm>
          <a:prstGeom prst="roundRect">
            <a:avLst/>
          </a:prstGeom>
          <a:noFill/>
          <a:ln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15" tIns="52157" rIns="104315" bIns="52157" rtlCol="0" anchor="ctr"/>
          <a:lstStyle/>
          <a:p>
            <a:pPr algn="ctr"/>
            <a:endParaRPr lang="ru-RU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4399455" y="3382525"/>
            <a:ext cx="1392172" cy="711134"/>
          </a:xfrm>
          <a:prstGeom prst="roundRect">
            <a:avLst/>
          </a:prstGeom>
          <a:noFill/>
          <a:ln>
            <a:solidFill>
              <a:srgbClr val="54823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15" tIns="52157" rIns="104315" bIns="52157"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9" name="Стрелка вниз 8"/>
          <p:cNvSpPr/>
          <p:nvPr/>
        </p:nvSpPr>
        <p:spPr>
          <a:xfrm>
            <a:off x="4962167" y="4339073"/>
            <a:ext cx="359950" cy="513703"/>
          </a:xfrm>
          <a:prstGeom prst="downArrow">
            <a:avLst>
              <a:gd name="adj1" fmla="val 50000"/>
              <a:gd name="adj2" fmla="val 110510"/>
            </a:avLst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15" tIns="52157" rIns="104315" bIns="52157"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0" y="0"/>
            <a:ext cx="10693400" cy="49541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15" tIns="52157" rIns="104315" bIns="52157" rtlCol="0" anchor="ctr"/>
          <a:lstStyle/>
          <a:p>
            <a:pPr algn="ctr"/>
            <a:r>
              <a:rPr lang="ru-RU" sz="2300" b="1" dirty="0" err="1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Әлемдік</a:t>
            </a:r>
            <a:r>
              <a:rPr lang="ru-RU" sz="2300" b="1" dirty="0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 </a:t>
            </a:r>
            <a:r>
              <a:rPr lang="ru-RU" sz="2300" b="1" dirty="0" err="1" smtClean="0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масштабтағы</a:t>
            </a:r>
            <a:r>
              <a:rPr lang="ru-RU" sz="2300" b="1" dirty="0" smtClean="0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 </a:t>
            </a:r>
            <a:r>
              <a:rPr lang="ru-RU" sz="2300" b="1" dirty="0" err="1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арнайы</a:t>
            </a:r>
            <a:r>
              <a:rPr lang="ru-RU" sz="2300" b="1" dirty="0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 </a:t>
            </a:r>
            <a:r>
              <a:rPr lang="ru-RU" sz="2300" b="1" dirty="0" err="1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экономикалық</a:t>
            </a:r>
            <a:r>
              <a:rPr lang="ru-RU" sz="2300" b="1" dirty="0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 </a:t>
            </a:r>
            <a:r>
              <a:rPr lang="ru-RU" sz="2300" b="1" dirty="0" err="1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аймақтар</a:t>
            </a:r>
            <a:endParaRPr lang="ru-RU" sz="2300" b="1" dirty="0">
              <a:solidFill>
                <a:prstClr val="white"/>
              </a:solidFill>
              <a:latin typeface="Arial" pitchFamily="34" charset="0"/>
              <a:ea typeface="Segoe UI" pitchFamily="34" charset="0"/>
              <a:cs typeface="Arial" pitchFamily="34" charset="0"/>
            </a:endParaRPr>
          </a:p>
        </p:txBody>
      </p:sp>
      <p:sp>
        <p:nvSpPr>
          <p:cNvPr id="26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8240803" y="7118178"/>
            <a:ext cx="2406015" cy="402652"/>
          </a:xfrm>
          <a:prstGeom prst="rect">
            <a:avLst/>
          </a:prstGeom>
        </p:spPr>
        <p:txBody>
          <a:bodyPr lIns="104315" tIns="52157" rIns="104315" bIns="52157"/>
          <a:lstStyle/>
          <a:p>
            <a:fld id="{E7E4A56A-6CFF-441F-ACD8-679C2267E3E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4547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Box 28"/>
          <p:cNvSpPr txBox="1"/>
          <p:nvPr/>
        </p:nvSpPr>
        <p:spPr>
          <a:xfrm>
            <a:off x="4120497" y="6236214"/>
            <a:ext cx="2488439" cy="751663"/>
          </a:xfrm>
          <a:prstGeom prst="rect">
            <a:avLst/>
          </a:prstGeom>
          <a:noFill/>
        </p:spPr>
        <p:txBody>
          <a:bodyPr wrap="square" lIns="104315" tIns="52157" rIns="104315" bIns="52157" rtlCol="0">
            <a:spAutoFit/>
          </a:bodyPr>
          <a:lstStyle/>
          <a:p>
            <a:pPr algn="ctr"/>
            <a:r>
              <a:rPr lang="ru-RU" sz="1400" b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егізгі</a:t>
            </a:r>
            <a:r>
              <a:rPr lang="ru-RU" sz="1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ндикаторлар</a:t>
            </a:r>
            <a:r>
              <a:rPr lang="ru-RU" sz="1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:</a:t>
            </a:r>
          </a:p>
          <a:p>
            <a:pPr algn="ctr"/>
            <a:r>
              <a:rPr lang="ru-RU" sz="1400" i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ru-RU" sz="1400" i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ұмыс</a:t>
            </a:r>
            <a:r>
              <a:rPr lang="ru-RU" sz="1400" i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уақытының</a:t>
            </a:r>
            <a:r>
              <a:rPr lang="ru-RU" sz="1400" i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рлық</a:t>
            </a:r>
            <a:r>
              <a:rPr lang="ru-RU" sz="1400" i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зеңінде</a:t>
            </a:r>
            <a:r>
              <a:rPr lang="ru-RU" sz="1400" i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)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8374487" y="7264562"/>
            <a:ext cx="2406015" cy="402652"/>
          </a:xfrm>
          <a:prstGeom prst="rect">
            <a:avLst/>
          </a:prstGeom>
        </p:spPr>
        <p:txBody>
          <a:bodyPr lIns="104315" tIns="52157" rIns="104315" bIns="52157"/>
          <a:lstStyle/>
          <a:p>
            <a:pPr algn="r"/>
            <a:fld id="{E7E4A56A-6CFF-441F-ACD8-679C2267E3E3}" type="slidenum">
              <a:rPr lang="ru-RU" smtClean="0"/>
              <a:pPr algn="r"/>
              <a:t>3</a:t>
            </a:fld>
            <a:endParaRPr lang="ru-RU" dirty="0"/>
          </a:p>
        </p:txBody>
      </p:sp>
      <p:sp>
        <p:nvSpPr>
          <p:cNvPr id="53" name="Прямоугольник 52"/>
          <p:cNvSpPr/>
          <p:nvPr/>
        </p:nvSpPr>
        <p:spPr>
          <a:xfrm>
            <a:off x="0" y="0"/>
            <a:ext cx="10693400" cy="49541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15" tIns="52157" rIns="104315" bIns="52157" rtlCol="0" anchor="ctr"/>
          <a:lstStyle/>
          <a:p>
            <a:pPr algn="ctr"/>
            <a:r>
              <a:rPr lang="ru-RU" sz="2300" b="1" dirty="0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Арнайы экономикалық </a:t>
            </a:r>
            <a:r>
              <a:rPr lang="ru-RU" sz="2300" b="1" dirty="0" err="1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аймақтар</a:t>
            </a:r>
            <a:r>
              <a:rPr lang="ru-RU" sz="2300" b="1" dirty="0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 бойынша </a:t>
            </a:r>
            <a:r>
              <a:rPr lang="ru-RU" sz="2300" b="1" dirty="0" err="1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жалпы</a:t>
            </a:r>
            <a:r>
              <a:rPr lang="ru-RU" sz="2300" b="1" dirty="0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 </a:t>
            </a:r>
            <a:r>
              <a:rPr lang="ru-RU" sz="2300" b="1" dirty="0" err="1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көрсеткіштері</a:t>
            </a:r>
            <a:endParaRPr lang="ru-RU" sz="2300" b="1" dirty="0">
              <a:solidFill>
                <a:prstClr val="white"/>
              </a:solidFill>
              <a:latin typeface="Arial" pitchFamily="34" charset="0"/>
              <a:ea typeface="Segoe UI" pitchFamily="34" charset="0"/>
              <a:cs typeface="Arial" pitchFamily="34" charset="0"/>
            </a:endParaRPr>
          </a:p>
        </p:txBody>
      </p:sp>
      <p:grpSp>
        <p:nvGrpSpPr>
          <p:cNvPr id="33" name="Группа 32"/>
          <p:cNvGrpSpPr/>
          <p:nvPr/>
        </p:nvGrpSpPr>
        <p:grpSpPr>
          <a:xfrm>
            <a:off x="8329836" y="5573782"/>
            <a:ext cx="2529043" cy="1150811"/>
            <a:chOff x="7087069" y="1704219"/>
            <a:chExt cx="1802657" cy="692218"/>
          </a:xfrm>
        </p:grpSpPr>
        <p:sp>
          <p:nvSpPr>
            <p:cNvPr id="38" name="Скругленный прямоугольник 37"/>
            <p:cNvSpPr/>
            <p:nvPr/>
          </p:nvSpPr>
          <p:spPr>
            <a:xfrm>
              <a:off x="7252548" y="1715905"/>
              <a:ext cx="1442689" cy="533411"/>
            </a:xfrm>
            <a:prstGeom prst="roundRect">
              <a:avLst>
                <a:gd name="adj" fmla="val 7437"/>
              </a:avLst>
            </a:prstGeom>
            <a:noFill/>
            <a:ln w="12700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3200">
                <a:solidFill>
                  <a:prstClr val="white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7087069" y="1704219"/>
              <a:ext cx="1802657" cy="692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b="1" dirty="0" smtClean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2,4 </a:t>
              </a:r>
              <a:r>
                <a:rPr lang="ru-RU" b="1" dirty="0" err="1" smtClean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тг</a:t>
              </a:r>
              <a:r>
                <a:rPr lang="ru-RU" b="1" dirty="0" smtClean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.</a:t>
              </a:r>
            </a:p>
            <a:p>
              <a:pPr algn="ctr"/>
              <a:r>
                <a:rPr lang="ru-RU" sz="1200" dirty="0" err="1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Бюджетке</a:t>
              </a:r>
              <a:r>
                <a:rPr lang="ru-RU" sz="1200" dirty="0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sz="1200" dirty="0" err="1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салынған</a:t>
              </a:r>
              <a:r>
                <a:rPr lang="ru-RU" sz="1200" dirty="0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sz="1200" dirty="0" err="1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инвестицияларды</a:t>
              </a:r>
              <a:r>
                <a:rPr lang="ru-RU" sz="1200" dirty="0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sz="1200" dirty="0" err="1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тарту</a:t>
              </a:r>
              <a:r>
                <a:rPr lang="ru-RU" sz="1200" dirty="0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 </a:t>
              </a:r>
              <a:br>
                <a:rPr lang="ru-RU" sz="1200" dirty="0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</a:br>
              <a:r>
                <a:rPr lang="ru-RU" sz="1200" dirty="0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1 </a:t>
              </a:r>
              <a:r>
                <a:rPr lang="ru-RU" sz="1200" dirty="0" err="1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тг</a:t>
              </a:r>
              <a:r>
                <a:rPr lang="ru-RU" sz="1200" dirty="0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.</a:t>
              </a:r>
              <a:endParaRPr lang="ru-RU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1" name="Группа 40"/>
          <p:cNvGrpSpPr/>
          <p:nvPr/>
        </p:nvGrpSpPr>
        <p:grpSpPr>
          <a:xfrm>
            <a:off x="8537169" y="6583848"/>
            <a:ext cx="2100293" cy="748003"/>
            <a:chOff x="7233000" y="1688542"/>
            <a:chExt cx="1498689" cy="560774"/>
          </a:xfrm>
        </p:grpSpPr>
        <p:sp>
          <p:nvSpPr>
            <p:cNvPr id="45" name="Скругленный прямоугольник 44"/>
            <p:cNvSpPr/>
            <p:nvPr/>
          </p:nvSpPr>
          <p:spPr>
            <a:xfrm>
              <a:off x="7252548" y="1715905"/>
              <a:ext cx="1442689" cy="533411"/>
            </a:xfrm>
            <a:prstGeom prst="roundRect">
              <a:avLst>
                <a:gd name="adj" fmla="val 7437"/>
              </a:avLst>
            </a:prstGeom>
            <a:noFill/>
            <a:ln w="12700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3200">
                <a:solidFill>
                  <a:prstClr val="white"/>
                </a:solidFill>
              </a:endParaRP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7233000" y="1688542"/>
              <a:ext cx="1498689" cy="5537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b="1" dirty="0" smtClean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29,1 </a:t>
              </a:r>
              <a:r>
                <a:rPr lang="ru-RU" b="1" dirty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%</a:t>
              </a:r>
            </a:p>
            <a:p>
              <a:pPr algn="ctr"/>
              <a:r>
                <a:rPr lang="ru-RU" sz="1200" dirty="0" err="1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Шетелдік</a:t>
              </a:r>
              <a:r>
                <a:rPr lang="ru-RU" sz="1200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sz="1200" dirty="0" err="1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инвестициялардың</a:t>
              </a:r>
              <a:r>
                <a:rPr lang="ru-RU" sz="1200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sz="1200" dirty="0" err="1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үлесі</a:t>
              </a:r>
              <a:endParaRPr lang="ru-RU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7" name="Группа 36"/>
          <p:cNvGrpSpPr/>
          <p:nvPr/>
        </p:nvGrpSpPr>
        <p:grpSpPr>
          <a:xfrm>
            <a:off x="106071" y="5647377"/>
            <a:ext cx="2021813" cy="977695"/>
            <a:chOff x="7252548" y="1715905"/>
            <a:chExt cx="1442689" cy="579960"/>
          </a:xfrm>
        </p:grpSpPr>
        <p:sp>
          <p:nvSpPr>
            <p:cNvPr id="42" name="Скругленный прямоугольник 41"/>
            <p:cNvSpPr/>
            <p:nvPr/>
          </p:nvSpPr>
          <p:spPr>
            <a:xfrm>
              <a:off x="7252548" y="1715905"/>
              <a:ext cx="1442689" cy="533411"/>
            </a:xfrm>
            <a:prstGeom prst="roundRect">
              <a:avLst>
                <a:gd name="adj" fmla="val 7437"/>
              </a:avLst>
            </a:prstGeom>
            <a:noFill/>
            <a:ln w="12700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3200">
                <a:solidFill>
                  <a:prstClr val="white"/>
                </a:solidFill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7324577" y="1742094"/>
              <a:ext cx="1335571" cy="55377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b="1" dirty="0" smtClean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11 </a:t>
              </a:r>
              <a:r>
                <a:rPr lang="ru-RU" b="1" dirty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757</a:t>
              </a:r>
            </a:p>
            <a:p>
              <a:pPr algn="ctr"/>
              <a:r>
                <a:rPr lang="ru-RU" sz="1200" dirty="0" err="1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Тұрақты</a:t>
              </a:r>
              <a:r>
                <a:rPr lang="ru-RU" sz="1200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sz="1200" dirty="0" err="1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жұмыс</a:t>
              </a:r>
              <a:r>
                <a:rPr lang="ru-RU" sz="1200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sz="1200" dirty="0" err="1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орындары</a:t>
              </a:r>
              <a:endParaRPr lang="ru-RU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50" name="Группа 49"/>
          <p:cNvGrpSpPr/>
          <p:nvPr/>
        </p:nvGrpSpPr>
        <p:grpSpPr>
          <a:xfrm>
            <a:off x="6436485" y="6581472"/>
            <a:ext cx="2021813" cy="760761"/>
            <a:chOff x="7252548" y="1678979"/>
            <a:chExt cx="1442689" cy="570337"/>
          </a:xfrm>
        </p:grpSpPr>
        <p:sp>
          <p:nvSpPr>
            <p:cNvPr id="54" name="Скругленный прямоугольник 53"/>
            <p:cNvSpPr/>
            <p:nvPr/>
          </p:nvSpPr>
          <p:spPr>
            <a:xfrm>
              <a:off x="7252548" y="1715905"/>
              <a:ext cx="1442689" cy="533411"/>
            </a:xfrm>
            <a:prstGeom prst="roundRect">
              <a:avLst>
                <a:gd name="adj" fmla="val 7437"/>
              </a:avLst>
            </a:prstGeom>
            <a:noFill/>
            <a:ln w="12700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3200">
                <a:solidFill>
                  <a:prstClr val="white"/>
                </a:solidFill>
              </a:endParaRP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7324577" y="1678979"/>
              <a:ext cx="1335571" cy="5537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b="1" dirty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112 млрд. </a:t>
              </a:r>
              <a:r>
                <a:rPr lang="ru-RU" b="1" dirty="0" err="1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тг</a:t>
              </a:r>
              <a:r>
                <a:rPr lang="ru-RU" b="1" dirty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.</a:t>
              </a:r>
            </a:p>
            <a:p>
              <a:pPr algn="ctr"/>
              <a:r>
                <a:rPr lang="ru-RU" sz="1200" dirty="0" err="1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Салықтық</a:t>
              </a:r>
              <a:r>
                <a:rPr lang="ru-RU" sz="1200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sz="1200" dirty="0" err="1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аударымдар</a:t>
              </a:r>
              <a:r>
                <a:rPr lang="ru-RU" sz="1200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sz="1200" dirty="0" err="1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сомасы</a:t>
              </a:r>
              <a:endParaRPr lang="ru-RU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58" name="Группа 57"/>
          <p:cNvGrpSpPr/>
          <p:nvPr/>
        </p:nvGrpSpPr>
        <p:grpSpPr>
          <a:xfrm>
            <a:off x="2250607" y="6650210"/>
            <a:ext cx="2021813" cy="711505"/>
            <a:chOff x="7252548" y="1715905"/>
            <a:chExt cx="1442689" cy="533411"/>
          </a:xfrm>
        </p:grpSpPr>
        <p:sp>
          <p:nvSpPr>
            <p:cNvPr id="59" name="Скругленный прямоугольник 58"/>
            <p:cNvSpPr/>
            <p:nvPr/>
          </p:nvSpPr>
          <p:spPr>
            <a:xfrm>
              <a:off x="7252548" y="1715905"/>
              <a:ext cx="1442689" cy="533411"/>
            </a:xfrm>
            <a:prstGeom prst="roundRect">
              <a:avLst>
                <a:gd name="adj" fmla="val 7437"/>
              </a:avLst>
            </a:prstGeom>
            <a:noFill/>
            <a:ln w="12700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3200">
                <a:solidFill>
                  <a:prstClr val="white"/>
                </a:solidFill>
              </a:endParaRP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7324577" y="1791275"/>
              <a:ext cx="1335571" cy="415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b="1" dirty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1 </a:t>
              </a:r>
              <a:r>
                <a:rPr lang="ru-RU" b="1" dirty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400 млрд. </a:t>
              </a:r>
              <a:r>
                <a:rPr lang="ru-RU" b="1" dirty="0" err="1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тг</a:t>
              </a:r>
              <a:r>
                <a:rPr lang="ru-RU" b="1" dirty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.</a:t>
              </a:r>
            </a:p>
            <a:p>
              <a:pPr algn="ctr"/>
              <a:r>
                <a:rPr lang="kk-KZ" sz="1200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Өндіріс көлемі</a:t>
              </a:r>
              <a:endParaRPr lang="ru-RU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64" name="Группа 63"/>
          <p:cNvGrpSpPr/>
          <p:nvPr/>
        </p:nvGrpSpPr>
        <p:grpSpPr>
          <a:xfrm>
            <a:off x="107132" y="6638387"/>
            <a:ext cx="2021813" cy="743438"/>
            <a:chOff x="7252548" y="1715905"/>
            <a:chExt cx="1442689" cy="557350"/>
          </a:xfrm>
        </p:grpSpPr>
        <p:sp>
          <p:nvSpPr>
            <p:cNvPr id="65" name="Скругленный прямоугольник 64"/>
            <p:cNvSpPr/>
            <p:nvPr/>
          </p:nvSpPr>
          <p:spPr>
            <a:xfrm>
              <a:off x="7252548" y="1715905"/>
              <a:ext cx="1442689" cy="533411"/>
            </a:xfrm>
            <a:prstGeom prst="roundRect">
              <a:avLst>
                <a:gd name="adj" fmla="val 7437"/>
              </a:avLst>
            </a:prstGeom>
            <a:noFill/>
            <a:ln w="12700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3200">
                <a:solidFill>
                  <a:prstClr val="white"/>
                </a:solidFill>
              </a:endParaRP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7324577" y="1719483"/>
              <a:ext cx="1335571" cy="5537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b="1" dirty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689 млрд. </a:t>
              </a:r>
              <a:r>
                <a:rPr lang="ru-RU" b="1" dirty="0" err="1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тг</a:t>
              </a:r>
              <a:r>
                <a:rPr lang="ru-RU" b="1" dirty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.</a:t>
              </a:r>
              <a:endParaRPr lang="ru-RU" sz="11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cs typeface="Arial" pitchFamily="34" charset="0"/>
              </a:endParaRPr>
            </a:p>
            <a:p>
              <a:pPr algn="ctr"/>
              <a:r>
                <a:rPr lang="kk-KZ" sz="1200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АЭА жобаларына инвестициялар</a:t>
              </a:r>
            </a:p>
          </p:txBody>
        </p:sp>
      </p:grpSp>
      <p:grpSp>
        <p:nvGrpSpPr>
          <p:cNvPr id="3" name="Группа 2"/>
          <p:cNvGrpSpPr/>
          <p:nvPr/>
        </p:nvGrpSpPr>
        <p:grpSpPr>
          <a:xfrm>
            <a:off x="621606" y="783608"/>
            <a:ext cx="10144193" cy="5000876"/>
            <a:chOff x="164406" y="618508"/>
            <a:chExt cx="8024674" cy="4632225"/>
          </a:xfrm>
        </p:grpSpPr>
        <p:grpSp>
          <p:nvGrpSpPr>
            <p:cNvPr id="238" name="Группа 237"/>
            <p:cNvGrpSpPr/>
            <p:nvPr/>
          </p:nvGrpSpPr>
          <p:grpSpPr>
            <a:xfrm>
              <a:off x="164406" y="618508"/>
              <a:ext cx="7588748" cy="4632225"/>
              <a:chOff x="230213" y="691036"/>
              <a:chExt cx="6793230" cy="3824640"/>
            </a:xfrm>
          </p:grpSpPr>
          <p:grpSp>
            <p:nvGrpSpPr>
              <p:cNvPr id="239" name="Группа 238"/>
              <p:cNvGrpSpPr/>
              <p:nvPr/>
            </p:nvGrpSpPr>
            <p:grpSpPr>
              <a:xfrm>
                <a:off x="230213" y="691036"/>
                <a:ext cx="6793230" cy="3824640"/>
                <a:chOff x="111349" y="18432"/>
                <a:chExt cx="6175671" cy="3476944"/>
              </a:xfrm>
            </p:grpSpPr>
            <p:grpSp>
              <p:nvGrpSpPr>
                <p:cNvPr id="269" name="Group 36"/>
                <p:cNvGrpSpPr>
                  <a:grpSpLocks/>
                </p:cNvGrpSpPr>
                <p:nvPr>
                  <p:custDataLst>
                    <p:tags r:id="rId1"/>
                  </p:custDataLst>
                </p:nvPr>
              </p:nvGrpSpPr>
              <p:grpSpPr bwMode="auto">
                <a:xfrm>
                  <a:off x="111349" y="18432"/>
                  <a:ext cx="5977133" cy="3400627"/>
                  <a:chOff x="27932" y="1780710"/>
                  <a:chExt cx="6102148" cy="3665845"/>
                </a:xfrm>
                <a:solidFill>
                  <a:schemeClr val="bg1"/>
                </a:solidFill>
                <a:effectLst/>
              </p:grpSpPr>
              <p:sp>
                <p:nvSpPr>
                  <p:cNvPr id="306" name="Freeform 3"/>
                  <p:cNvSpPr>
                    <a:spLocks noEditPoints="1"/>
                  </p:cNvSpPr>
                  <p:nvPr/>
                </p:nvSpPr>
                <p:spPr bwMode="auto">
                  <a:xfrm>
                    <a:off x="2150930" y="1963992"/>
                    <a:ext cx="1129218" cy="1602294"/>
                  </a:xfrm>
                  <a:custGeom>
                    <a:avLst/>
                    <a:gdLst/>
                    <a:ahLst/>
                    <a:cxnLst>
                      <a:cxn ang="0">
                        <a:pos x="119" y="6"/>
                      </a:cxn>
                      <a:cxn ang="0">
                        <a:pos x="121" y="17"/>
                      </a:cxn>
                      <a:cxn ang="0">
                        <a:pos x="118" y="22"/>
                      </a:cxn>
                      <a:cxn ang="0">
                        <a:pos x="121" y="29"/>
                      </a:cxn>
                      <a:cxn ang="0">
                        <a:pos x="118" y="33"/>
                      </a:cxn>
                      <a:cxn ang="0">
                        <a:pos x="123" y="38"/>
                      </a:cxn>
                      <a:cxn ang="0">
                        <a:pos x="117" y="48"/>
                      </a:cxn>
                      <a:cxn ang="0">
                        <a:pos x="114" y="62"/>
                      </a:cxn>
                      <a:cxn ang="0">
                        <a:pos x="110" y="79"/>
                      </a:cxn>
                      <a:cxn ang="0">
                        <a:pos x="103" y="96"/>
                      </a:cxn>
                      <a:cxn ang="0">
                        <a:pos x="109" y="107"/>
                      </a:cxn>
                      <a:cxn ang="0">
                        <a:pos x="119" y="113"/>
                      </a:cxn>
                      <a:cxn ang="0">
                        <a:pos x="134" y="121"/>
                      </a:cxn>
                      <a:cxn ang="0">
                        <a:pos x="150" y="126"/>
                      </a:cxn>
                      <a:cxn ang="0">
                        <a:pos x="149" y="135"/>
                      </a:cxn>
                      <a:cxn ang="0">
                        <a:pos x="129" y="157"/>
                      </a:cxn>
                      <a:cxn ang="0">
                        <a:pos x="120" y="169"/>
                      </a:cxn>
                      <a:cxn ang="0">
                        <a:pos x="108" y="180"/>
                      </a:cxn>
                      <a:cxn ang="0">
                        <a:pos x="90" y="182"/>
                      </a:cxn>
                      <a:cxn ang="0">
                        <a:pos x="75" y="197"/>
                      </a:cxn>
                      <a:cxn ang="0">
                        <a:pos x="68" y="194"/>
                      </a:cxn>
                      <a:cxn ang="0">
                        <a:pos x="52" y="180"/>
                      </a:cxn>
                      <a:cxn ang="0">
                        <a:pos x="46" y="173"/>
                      </a:cxn>
                      <a:cxn ang="0">
                        <a:pos x="39" y="170"/>
                      </a:cxn>
                      <a:cxn ang="0">
                        <a:pos x="42" y="158"/>
                      </a:cxn>
                      <a:cxn ang="0">
                        <a:pos x="50" y="148"/>
                      </a:cxn>
                      <a:cxn ang="0">
                        <a:pos x="46" y="122"/>
                      </a:cxn>
                      <a:cxn ang="0">
                        <a:pos x="28" y="98"/>
                      </a:cxn>
                      <a:cxn ang="0">
                        <a:pos x="14" y="90"/>
                      </a:cxn>
                      <a:cxn ang="0">
                        <a:pos x="4" y="82"/>
                      </a:cxn>
                      <a:cxn ang="0">
                        <a:pos x="0" y="78"/>
                      </a:cxn>
                      <a:cxn ang="0">
                        <a:pos x="5" y="75"/>
                      </a:cxn>
                      <a:cxn ang="0">
                        <a:pos x="9" y="73"/>
                      </a:cxn>
                      <a:cxn ang="0">
                        <a:pos x="15" y="69"/>
                      </a:cxn>
                      <a:cxn ang="0">
                        <a:pos x="17" y="63"/>
                      </a:cxn>
                      <a:cxn ang="0">
                        <a:pos x="14" y="57"/>
                      </a:cxn>
                      <a:cxn ang="0">
                        <a:pos x="18" y="50"/>
                      </a:cxn>
                      <a:cxn ang="0">
                        <a:pos x="36" y="50"/>
                      </a:cxn>
                      <a:cxn ang="0">
                        <a:pos x="39" y="47"/>
                      </a:cxn>
                      <a:cxn ang="0">
                        <a:pos x="38" y="42"/>
                      </a:cxn>
                      <a:cxn ang="0">
                        <a:pos x="34" y="40"/>
                      </a:cxn>
                      <a:cxn ang="0">
                        <a:pos x="28" y="37"/>
                      </a:cxn>
                      <a:cxn ang="0">
                        <a:pos x="23" y="35"/>
                      </a:cxn>
                      <a:cxn ang="0">
                        <a:pos x="31" y="29"/>
                      </a:cxn>
                      <a:cxn ang="0">
                        <a:pos x="28" y="28"/>
                      </a:cxn>
                      <a:cxn ang="0">
                        <a:pos x="21" y="26"/>
                      </a:cxn>
                      <a:cxn ang="0">
                        <a:pos x="23" y="23"/>
                      </a:cxn>
                      <a:cxn ang="0">
                        <a:pos x="23" y="20"/>
                      </a:cxn>
                      <a:cxn ang="0">
                        <a:pos x="22" y="17"/>
                      </a:cxn>
                      <a:cxn ang="0">
                        <a:pos x="31" y="18"/>
                      </a:cxn>
                      <a:cxn ang="0">
                        <a:pos x="54" y="18"/>
                      </a:cxn>
                      <a:cxn ang="0">
                        <a:pos x="63" y="15"/>
                      </a:cxn>
                      <a:cxn ang="0">
                        <a:pos x="69" y="13"/>
                      </a:cxn>
                      <a:cxn ang="0">
                        <a:pos x="80" y="10"/>
                      </a:cxn>
                      <a:cxn ang="0">
                        <a:pos x="88" y="12"/>
                      </a:cxn>
                      <a:cxn ang="0">
                        <a:pos x="98" y="10"/>
                      </a:cxn>
                      <a:cxn ang="0">
                        <a:pos x="100" y="5"/>
                      </a:cxn>
                      <a:cxn ang="0">
                        <a:pos x="104" y="3"/>
                      </a:cxn>
                      <a:cxn ang="0">
                        <a:pos x="109" y="1"/>
                      </a:cxn>
                      <a:cxn ang="0">
                        <a:pos x="9" y="86"/>
                      </a:cxn>
                      <a:cxn ang="0">
                        <a:pos x="11" y="85"/>
                      </a:cxn>
                    </a:cxnLst>
                    <a:rect l="0" t="0" r="r" b="b"/>
                    <a:pathLst>
                      <a:path w="151" h="199">
                        <a:moveTo>
                          <a:pt x="109" y="0"/>
                        </a:moveTo>
                        <a:lnTo>
                          <a:pt x="112" y="0"/>
                        </a:lnTo>
                        <a:lnTo>
                          <a:pt x="114" y="0"/>
                        </a:lnTo>
                        <a:lnTo>
                          <a:pt x="116" y="0"/>
                        </a:lnTo>
                        <a:lnTo>
                          <a:pt x="118" y="0"/>
                        </a:lnTo>
                        <a:lnTo>
                          <a:pt x="118" y="1"/>
                        </a:lnTo>
                        <a:lnTo>
                          <a:pt x="118" y="1"/>
                        </a:lnTo>
                        <a:lnTo>
                          <a:pt x="119" y="2"/>
                        </a:lnTo>
                        <a:lnTo>
                          <a:pt x="119" y="2"/>
                        </a:lnTo>
                        <a:lnTo>
                          <a:pt x="119" y="3"/>
                        </a:lnTo>
                        <a:lnTo>
                          <a:pt x="119" y="4"/>
                        </a:lnTo>
                        <a:lnTo>
                          <a:pt x="119" y="5"/>
                        </a:lnTo>
                        <a:lnTo>
                          <a:pt x="119" y="6"/>
                        </a:lnTo>
                        <a:lnTo>
                          <a:pt x="119" y="7"/>
                        </a:lnTo>
                        <a:lnTo>
                          <a:pt x="119" y="8"/>
                        </a:lnTo>
                        <a:lnTo>
                          <a:pt x="119" y="9"/>
                        </a:lnTo>
                        <a:lnTo>
                          <a:pt x="119" y="11"/>
                        </a:lnTo>
                        <a:lnTo>
                          <a:pt x="119" y="12"/>
                        </a:lnTo>
                        <a:lnTo>
                          <a:pt x="119" y="12"/>
                        </a:lnTo>
                        <a:lnTo>
                          <a:pt x="119" y="13"/>
                        </a:lnTo>
                        <a:lnTo>
                          <a:pt x="120" y="14"/>
                        </a:lnTo>
                        <a:lnTo>
                          <a:pt x="120" y="15"/>
                        </a:lnTo>
                        <a:lnTo>
                          <a:pt x="120" y="15"/>
                        </a:lnTo>
                        <a:lnTo>
                          <a:pt x="120" y="16"/>
                        </a:lnTo>
                        <a:lnTo>
                          <a:pt x="121" y="16"/>
                        </a:lnTo>
                        <a:lnTo>
                          <a:pt x="121" y="17"/>
                        </a:lnTo>
                        <a:lnTo>
                          <a:pt x="121" y="17"/>
                        </a:lnTo>
                        <a:lnTo>
                          <a:pt x="121" y="18"/>
                        </a:lnTo>
                        <a:lnTo>
                          <a:pt x="121" y="18"/>
                        </a:lnTo>
                        <a:lnTo>
                          <a:pt x="121" y="19"/>
                        </a:lnTo>
                        <a:lnTo>
                          <a:pt x="121" y="19"/>
                        </a:lnTo>
                        <a:lnTo>
                          <a:pt x="121" y="20"/>
                        </a:lnTo>
                        <a:lnTo>
                          <a:pt x="120" y="20"/>
                        </a:lnTo>
                        <a:lnTo>
                          <a:pt x="120" y="21"/>
                        </a:lnTo>
                        <a:lnTo>
                          <a:pt x="120" y="21"/>
                        </a:lnTo>
                        <a:lnTo>
                          <a:pt x="119" y="21"/>
                        </a:lnTo>
                        <a:lnTo>
                          <a:pt x="119" y="21"/>
                        </a:lnTo>
                        <a:lnTo>
                          <a:pt x="118" y="21"/>
                        </a:lnTo>
                        <a:lnTo>
                          <a:pt x="118" y="22"/>
                        </a:lnTo>
                        <a:lnTo>
                          <a:pt x="117" y="22"/>
                        </a:lnTo>
                        <a:lnTo>
                          <a:pt x="117" y="22"/>
                        </a:lnTo>
                        <a:lnTo>
                          <a:pt x="116" y="22"/>
                        </a:lnTo>
                        <a:lnTo>
                          <a:pt x="117" y="22"/>
                        </a:lnTo>
                        <a:lnTo>
                          <a:pt x="117" y="23"/>
                        </a:lnTo>
                        <a:lnTo>
                          <a:pt x="118" y="24"/>
                        </a:lnTo>
                        <a:lnTo>
                          <a:pt x="118" y="24"/>
                        </a:lnTo>
                        <a:lnTo>
                          <a:pt x="119" y="25"/>
                        </a:lnTo>
                        <a:lnTo>
                          <a:pt x="119" y="26"/>
                        </a:lnTo>
                        <a:lnTo>
                          <a:pt x="120" y="27"/>
                        </a:lnTo>
                        <a:lnTo>
                          <a:pt x="120" y="28"/>
                        </a:lnTo>
                        <a:lnTo>
                          <a:pt x="121" y="28"/>
                        </a:lnTo>
                        <a:lnTo>
                          <a:pt x="121" y="29"/>
                        </a:lnTo>
                        <a:lnTo>
                          <a:pt x="121" y="29"/>
                        </a:lnTo>
                        <a:lnTo>
                          <a:pt x="121" y="30"/>
                        </a:lnTo>
                        <a:lnTo>
                          <a:pt x="121" y="30"/>
                        </a:lnTo>
                        <a:lnTo>
                          <a:pt x="121" y="30"/>
                        </a:lnTo>
                        <a:lnTo>
                          <a:pt x="121" y="31"/>
                        </a:lnTo>
                        <a:lnTo>
                          <a:pt x="121" y="31"/>
                        </a:lnTo>
                        <a:lnTo>
                          <a:pt x="121" y="31"/>
                        </a:lnTo>
                        <a:lnTo>
                          <a:pt x="120" y="32"/>
                        </a:lnTo>
                        <a:lnTo>
                          <a:pt x="120" y="32"/>
                        </a:lnTo>
                        <a:lnTo>
                          <a:pt x="119" y="32"/>
                        </a:lnTo>
                        <a:lnTo>
                          <a:pt x="119" y="33"/>
                        </a:lnTo>
                        <a:lnTo>
                          <a:pt x="118" y="33"/>
                        </a:lnTo>
                        <a:lnTo>
                          <a:pt x="118" y="33"/>
                        </a:lnTo>
                        <a:lnTo>
                          <a:pt x="118" y="34"/>
                        </a:lnTo>
                        <a:lnTo>
                          <a:pt x="118" y="34"/>
                        </a:lnTo>
                        <a:lnTo>
                          <a:pt x="118" y="35"/>
                        </a:lnTo>
                        <a:lnTo>
                          <a:pt x="119" y="35"/>
                        </a:lnTo>
                        <a:lnTo>
                          <a:pt x="119" y="35"/>
                        </a:lnTo>
                        <a:lnTo>
                          <a:pt x="119" y="35"/>
                        </a:lnTo>
                        <a:lnTo>
                          <a:pt x="120" y="36"/>
                        </a:lnTo>
                        <a:lnTo>
                          <a:pt x="121" y="36"/>
                        </a:lnTo>
                        <a:lnTo>
                          <a:pt x="122" y="36"/>
                        </a:lnTo>
                        <a:lnTo>
                          <a:pt x="122" y="36"/>
                        </a:lnTo>
                        <a:lnTo>
                          <a:pt x="123" y="37"/>
                        </a:lnTo>
                        <a:lnTo>
                          <a:pt x="123" y="37"/>
                        </a:lnTo>
                        <a:lnTo>
                          <a:pt x="123" y="38"/>
                        </a:lnTo>
                        <a:lnTo>
                          <a:pt x="123" y="38"/>
                        </a:lnTo>
                        <a:lnTo>
                          <a:pt x="123" y="39"/>
                        </a:lnTo>
                        <a:lnTo>
                          <a:pt x="122" y="40"/>
                        </a:lnTo>
                        <a:lnTo>
                          <a:pt x="122" y="42"/>
                        </a:lnTo>
                        <a:lnTo>
                          <a:pt x="121" y="44"/>
                        </a:lnTo>
                        <a:lnTo>
                          <a:pt x="121" y="45"/>
                        </a:lnTo>
                        <a:lnTo>
                          <a:pt x="121" y="45"/>
                        </a:lnTo>
                        <a:lnTo>
                          <a:pt x="120" y="46"/>
                        </a:lnTo>
                        <a:lnTo>
                          <a:pt x="120" y="47"/>
                        </a:lnTo>
                        <a:lnTo>
                          <a:pt x="119" y="48"/>
                        </a:lnTo>
                        <a:lnTo>
                          <a:pt x="119" y="48"/>
                        </a:lnTo>
                        <a:lnTo>
                          <a:pt x="118" y="48"/>
                        </a:lnTo>
                        <a:lnTo>
                          <a:pt x="117" y="48"/>
                        </a:lnTo>
                        <a:lnTo>
                          <a:pt x="117" y="48"/>
                        </a:lnTo>
                        <a:lnTo>
                          <a:pt x="116" y="48"/>
                        </a:lnTo>
                        <a:lnTo>
                          <a:pt x="116" y="48"/>
                        </a:lnTo>
                        <a:lnTo>
                          <a:pt x="115" y="48"/>
                        </a:lnTo>
                        <a:lnTo>
                          <a:pt x="114" y="48"/>
                        </a:lnTo>
                        <a:lnTo>
                          <a:pt x="115" y="49"/>
                        </a:lnTo>
                        <a:lnTo>
                          <a:pt x="115" y="51"/>
                        </a:lnTo>
                        <a:lnTo>
                          <a:pt x="114" y="53"/>
                        </a:lnTo>
                        <a:lnTo>
                          <a:pt x="114" y="56"/>
                        </a:lnTo>
                        <a:lnTo>
                          <a:pt x="114" y="58"/>
                        </a:lnTo>
                        <a:lnTo>
                          <a:pt x="114" y="60"/>
                        </a:lnTo>
                        <a:lnTo>
                          <a:pt x="114" y="61"/>
                        </a:lnTo>
                        <a:lnTo>
                          <a:pt x="114" y="62"/>
                        </a:lnTo>
                        <a:lnTo>
                          <a:pt x="115" y="63"/>
                        </a:lnTo>
                        <a:lnTo>
                          <a:pt x="115" y="64"/>
                        </a:lnTo>
                        <a:lnTo>
                          <a:pt x="115" y="65"/>
                        </a:lnTo>
                        <a:lnTo>
                          <a:pt x="116" y="66"/>
                        </a:lnTo>
                        <a:lnTo>
                          <a:pt x="116" y="66"/>
                        </a:lnTo>
                        <a:lnTo>
                          <a:pt x="116" y="68"/>
                        </a:lnTo>
                        <a:lnTo>
                          <a:pt x="115" y="70"/>
                        </a:lnTo>
                        <a:lnTo>
                          <a:pt x="115" y="72"/>
                        </a:lnTo>
                        <a:lnTo>
                          <a:pt x="114" y="74"/>
                        </a:lnTo>
                        <a:lnTo>
                          <a:pt x="113" y="75"/>
                        </a:lnTo>
                        <a:lnTo>
                          <a:pt x="112" y="77"/>
                        </a:lnTo>
                        <a:lnTo>
                          <a:pt x="111" y="78"/>
                        </a:lnTo>
                        <a:lnTo>
                          <a:pt x="110" y="79"/>
                        </a:lnTo>
                        <a:lnTo>
                          <a:pt x="109" y="81"/>
                        </a:lnTo>
                        <a:lnTo>
                          <a:pt x="108" y="82"/>
                        </a:lnTo>
                        <a:lnTo>
                          <a:pt x="107" y="83"/>
                        </a:lnTo>
                        <a:lnTo>
                          <a:pt x="106" y="84"/>
                        </a:lnTo>
                        <a:lnTo>
                          <a:pt x="105" y="85"/>
                        </a:lnTo>
                        <a:lnTo>
                          <a:pt x="104" y="86"/>
                        </a:lnTo>
                        <a:lnTo>
                          <a:pt x="101" y="88"/>
                        </a:lnTo>
                        <a:lnTo>
                          <a:pt x="101" y="89"/>
                        </a:lnTo>
                        <a:lnTo>
                          <a:pt x="102" y="90"/>
                        </a:lnTo>
                        <a:lnTo>
                          <a:pt x="102" y="91"/>
                        </a:lnTo>
                        <a:lnTo>
                          <a:pt x="102" y="92"/>
                        </a:lnTo>
                        <a:lnTo>
                          <a:pt x="103" y="94"/>
                        </a:lnTo>
                        <a:lnTo>
                          <a:pt x="103" y="96"/>
                        </a:lnTo>
                        <a:lnTo>
                          <a:pt x="103" y="98"/>
                        </a:lnTo>
                        <a:lnTo>
                          <a:pt x="103" y="100"/>
                        </a:lnTo>
                        <a:lnTo>
                          <a:pt x="103" y="102"/>
                        </a:lnTo>
                        <a:lnTo>
                          <a:pt x="103" y="105"/>
                        </a:lnTo>
                        <a:lnTo>
                          <a:pt x="103" y="105"/>
                        </a:lnTo>
                        <a:lnTo>
                          <a:pt x="103" y="106"/>
                        </a:lnTo>
                        <a:lnTo>
                          <a:pt x="104" y="106"/>
                        </a:lnTo>
                        <a:lnTo>
                          <a:pt x="104" y="107"/>
                        </a:lnTo>
                        <a:lnTo>
                          <a:pt x="105" y="107"/>
                        </a:lnTo>
                        <a:lnTo>
                          <a:pt x="106" y="107"/>
                        </a:lnTo>
                        <a:lnTo>
                          <a:pt x="107" y="107"/>
                        </a:lnTo>
                        <a:lnTo>
                          <a:pt x="108" y="107"/>
                        </a:lnTo>
                        <a:lnTo>
                          <a:pt x="109" y="107"/>
                        </a:lnTo>
                        <a:lnTo>
                          <a:pt x="111" y="106"/>
                        </a:lnTo>
                        <a:lnTo>
                          <a:pt x="112" y="106"/>
                        </a:lnTo>
                        <a:lnTo>
                          <a:pt x="113" y="106"/>
                        </a:lnTo>
                        <a:lnTo>
                          <a:pt x="114" y="106"/>
                        </a:lnTo>
                        <a:lnTo>
                          <a:pt x="114" y="106"/>
                        </a:lnTo>
                        <a:lnTo>
                          <a:pt x="115" y="108"/>
                        </a:lnTo>
                        <a:lnTo>
                          <a:pt x="115" y="109"/>
                        </a:lnTo>
                        <a:lnTo>
                          <a:pt x="116" y="109"/>
                        </a:lnTo>
                        <a:lnTo>
                          <a:pt x="116" y="110"/>
                        </a:lnTo>
                        <a:lnTo>
                          <a:pt x="117" y="111"/>
                        </a:lnTo>
                        <a:lnTo>
                          <a:pt x="117" y="112"/>
                        </a:lnTo>
                        <a:lnTo>
                          <a:pt x="118" y="113"/>
                        </a:lnTo>
                        <a:lnTo>
                          <a:pt x="119" y="113"/>
                        </a:lnTo>
                        <a:lnTo>
                          <a:pt x="120" y="114"/>
                        </a:lnTo>
                        <a:lnTo>
                          <a:pt x="121" y="114"/>
                        </a:lnTo>
                        <a:lnTo>
                          <a:pt x="122" y="115"/>
                        </a:lnTo>
                        <a:lnTo>
                          <a:pt x="123" y="115"/>
                        </a:lnTo>
                        <a:lnTo>
                          <a:pt x="125" y="115"/>
                        </a:lnTo>
                        <a:lnTo>
                          <a:pt x="126" y="115"/>
                        </a:lnTo>
                        <a:lnTo>
                          <a:pt x="128" y="115"/>
                        </a:lnTo>
                        <a:lnTo>
                          <a:pt x="129" y="115"/>
                        </a:lnTo>
                        <a:lnTo>
                          <a:pt x="130" y="116"/>
                        </a:lnTo>
                        <a:lnTo>
                          <a:pt x="131" y="117"/>
                        </a:lnTo>
                        <a:lnTo>
                          <a:pt x="132" y="118"/>
                        </a:lnTo>
                        <a:lnTo>
                          <a:pt x="132" y="119"/>
                        </a:lnTo>
                        <a:lnTo>
                          <a:pt x="134" y="121"/>
                        </a:lnTo>
                        <a:lnTo>
                          <a:pt x="136" y="123"/>
                        </a:lnTo>
                        <a:lnTo>
                          <a:pt x="139" y="123"/>
                        </a:lnTo>
                        <a:lnTo>
                          <a:pt x="141" y="123"/>
                        </a:lnTo>
                        <a:lnTo>
                          <a:pt x="143" y="123"/>
                        </a:lnTo>
                        <a:lnTo>
                          <a:pt x="144" y="123"/>
                        </a:lnTo>
                        <a:lnTo>
                          <a:pt x="145" y="123"/>
                        </a:lnTo>
                        <a:lnTo>
                          <a:pt x="146" y="123"/>
                        </a:lnTo>
                        <a:lnTo>
                          <a:pt x="147" y="124"/>
                        </a:lnTo>
                        <a:lnTo>
                          <a:pt x="148" y="124"/>
                        </a:lnTo>
                        <a:lnTo>
                          <a:pt x="148" y="124"/>
                        </a:lnTo>
                        <a:lnTo>
                          <a:pt x="149" y="125"/>
                        </a:lnTo>
                        <a:lnTo>
                          <a:pt x="150" y="125"/>
                        </a:lnTo>
                        <a:lnTo>
                          <a:pt x="150" y="126"/>
                        </a:lnTo>
                        <a:lnTo>
                          <a:pt x="151" y="126"/>
                        </a:lnTo>
                        <a:lnTo>
                          <a:pt x="151" y="127"/>
                        </a:lnTo>
                        <a:lnTo>
                          <a:pt x="151" y="128"/>
                        </a:lnTo>
                        <a:lnTo>
                          <a:pt x="151" y="129"/>
                        </a:lnTo>
                        <a:lnTo>
                          <a:pt x="151" y="129"/>
                        </a:lnTo>
                        <a:lnTo>
                          <a:pt x="151" y="130"/>
                        </a:lnTo>
                        <a:lnTo>
                          <a:pt x="151" y="130"/>
                        </a:lnTo>
                        <a:lnTo>
                          <a:pt x="150" y="131"/>
                        </a:lnTo>
                        <a:lnTo>
                          <a:pt x="150" y="132"/>
                        </a:lnTo>
                        <a:lnTo>
                          <a:pt x="149" y="133"/>
                        </a:lnTo>
                        <a:lnTo>
                          <a:pt x="149" y="133"/>
                        </a:lnTo>
                        <a:lnTo>
                          <a:pt x="149" y="134"/>
                        </a:lnTo>
                        <a:lnTo>
                          <a:pt x="149" y="135"/>
                        </a:lnTo>
                        <a:lnTo>
                          <a:pt x="149" y="135"/>
                        </a:lnTo>
                        <a:lnTo>
                          <a:pt x="149" y="136"/>
                        </a:lnTo>
                        <a:lnTo>
                          <a:pt x="147" y="138"/>
                        </a:lnTo>
                        <a:lnTo>
                          <a:pt x="146" y="139"/>
                        </a:lnTo>
                        <a:lnTo>
                          <a:pt x="144" y="141"/>
                        </a:lnTo>
                        <a:lnTo>
                          <a:pt x="142" y="143"/>
                        </a:lnTo>
                        <a:lnTo>
                          <a:pt x="141" y="144"/>
                        </a:lnTo>
                        <a:lnTo>
                          <a:pt x="139" y="146"/>
                        </a:lnTo>
                        <a:lnTo>
                          <a:pt x="136" y="150"/>
                        </a:lnTo>
                        <a:lnTo>
                          <a:pt x="134" y="152"/>
                        </a:lnTo>
                        <a:lnTo>
                          <a:pt x="133" y="154"/>
                        </a:lnTo>
                        <a:lnTo>
                          <a:pt x="131" y="155"/>
                        </a:lnTo>
                        <a:lnTo>
                          <a:pt x="129" y="157"/>
                        </a:lnTo>
                        <a:lnTo>
                          <a:pt x="127" y="159"/>
                        </a:lnTo>
                        <a:lnTo>
                          <a:pt x="125" y="160"/>
                        </a:lnTo>
                        <a:lnTo>
                          <a:pt x="123" y="162"/>
                        </a:lnTo>
                        <a:lnTo>
                          <a:pt x="122" y="162"/>
                        </a:lnTo>
                        <a:lnTo>
                          <a:pt x="121" y="163"/>
                        </a:lnTo>
                        <a:lnTo>
                          <a:pt x="121" y="164"/>
                        </a:lnTo>
                        <a:lnTo>
                          <a:pt x="121" y="165"/>
                        </a:lnTo>
                        <a:lnTo>
                          <a:pt x="121" y="165"/>
                        </a:lnTo>
                        <a:lnTo>
                          <a:pt x="121" y="166"/>
                        </a:lnTo>
                        <a:lnTo>
                          <a:pt x="121" y="166"/>
                        </a:lnTo>
                        <a:lnTo>
                          <a:pt x="121" y="167"/>
                        </a:lnTo>
                        <a:lnTo>
                          <a:pt x="120" y="168"/>
                        </a:lnTo>
                        <a:lnTo>
                          <a:pt x="120" y="169"/>
                        </a:lnTo>
                        <a:lnTo>
                          <a:pt x="119" y="169"/>
                        </a:lnTo>
                        <a:lnTo>
                          <a:pt x="119" y="170"/>
                        </a:lnTo>
                        <a:lnTo>
                          <a:pt x="119" y="171"/>
                        </a:lnTo>
                        <a:lnTo>
                          <a:pt x="119" y="171"/>
                        </a:lnTo>
                        <a:lnTo>
                          <a:pt x="119" y="172"/>
                        </a:lnTo>
                        <a:lnTo>
                          <a:pt x="119" y="173"/>
                        </a:lnTo>
                        <a:lnTo>
                          <a:pt x="118" y="173"/>
                        </a:lnTo>
                        <a:lnTo>
                          <a:pt x="117" y="174"/>
                        </a:lnTo>
                        <a:lnTo>
                          <a:pt x="115" y="175"/>
                        </a:lnTo>
                        <a:lnTo>
                          <a:pt x="114" y="176"/>
                        </a:lnTo>
                        <a:lnTo>
                          <a:pt x="112" y="178"/>
                        </a:lnTo>
                        <a:lnTo>
                          <a:pt x="110" y="179"/>
                        </a:lnTo>
                        <a:lnTo>
                          <a:pt x="108" y="180"/>
                        </a:lnTo>
                        <a:lnTo>
                          <a:pt x="106" y="182"/>
                        </a:lnTo>
                        <a:lnTo>
                          <a:pt x="104" y="183"/>
                        </a:lnTo>
                        <a:lnTo>
                          <a:pt x="103" y="183"/>
                        </a:lnTo>
                        <a:lnTo>
                          <a:pt x="102" y="183"/>
                        </a:lnTo>
                        <a:lnTo>
                          <a:pt x="100" y="183"/>
                        </a:lnTo>
                        <a:lnTo>
                          <a:pt x="99" y="183"/>
                        </a:lnTo>
                        <a:lnTo>
                          <a:pt x="97" y="183"/>
                        </a:lnTo>
                        <a:lnTo>
                          <a:pt x="96" y="183"/>
                        </a:lnTo>
                        <a:lnTo>
                          <a:pt x="95" y="183"/>
                        </a:lnTo>
                        <a:lnTo>
                          <a:pt x="94" y="183"/>
                        </a:lnTo>
                        <a:lnTo>
                          <a:pt x="92" y="182"/>
                        </a:lnTo>
                        <a:lnTo>
                          <a:pt x="91" y="182"/>
                        </a:lnTo>
                        <a:lnTo>
                          <a:pt x="90" y="182"/>
                        </a:lnTo>
                        <a:lnTo>
                          <a:pt x="89" y="182"/>
                        </a:lnTo>
                        <a:lnTo>
                          <a:pt x="88" y="182"/>
                        </a:lnTo>
                        <a:lnTo>
                          <a:pt x="87" y="183"/>
                        </a:lnTo>
                        <a:lnTo>
                          <a:pt x="86" y="183"/>
                        </a:lnTo>
                        <a:lnTo>
                          <a:pt x="84" y="185"/>
                        </a:lnTo>
                        <a:lnTo>
                          <a:pt x="83" y="188"/>
                        </a:lnTo>
                        <a:lnTo>
                          <a:pt x="81" y="190"/>
                        </a:lnTo>
                        <a:lnTo>
                          <a:pt x="80" y="192"/>
                        </a:lnTo>
                        <a:lnTo>
                          <a:pt x="79" y="193"/>
                        </a:lnTo>
                        <a:lnTo>
                          <a:pt x="78" y="194"/>
                        </a:lnTo>
                        <a:lnTo>
                          <a:pt x="77" y="195"/>
                        </a:lnTo>
                        <a:lnTo>
                          <a:pt x="76" y="196"/>
                        </a:lnTo>
                        <a:lnTo>
                          <a:pt x="75" y="197"/>
                        </a:lnTo>
                        <a:lnTo>
                          <a:pt x="74" y="198"/>
                        </a:lnTo>
                        <a:lnTo>
                          <a:pt x="72" y="199"/>
                        </a:lnTo>
                        <a:lnTo>
                          <a:pt x="71" y="199"/>
                        </a:lnTo>
                        <a:lnTo>
                          <a:pt x="71" y="199"/>
                        </a:lnTo>
                        <a:lnTo>
                          <a:pt x="70" y="199"/>
                        </a:lnTo>
                        <a:lnTo>
                          <a:pt x="70" y="199"/>
                        </a:lnTo>
                        <a:lnTo>
                          <a:pt x="70" y="199"/>
                        </a:lnTo>
                        <a:lnTo>
                          <a:pt x="69" y="199"/>
                        </a:lnTo>
                        <a:lnTo>
                          <a:pt x="69" y="198"/>
                        </a:lnTo>
                        <a:lnTo>
                          <a:pt x="68" y="197"/>
                        </a:lnTo>
                        <a:lnTo>
                          <a:pt x="68" y="196"/>
                        </a:lnTo>
                        <a:lnTo>
                          <a:pt x="68" y="195"/>
                        </a:lnTo>
                        <a:lnTo>
                          <a:pt x="68" y="194"/>
                        </a:lnTo>
                        <a:lnTo>
                          <a:pt x="68" y="193"/>
                        </a:lnTo>
                        <a:lnTo>
                          <a:pt x="68" y="191"/>
                        </a:lnTo>
                        <a:lnTo>
                          <a:pt x="67" y="190"/>
                        </a:lnTo>
                        <a:lnTo>
                          <a:pt x="65" y="189"/>
                        </a:lnTo>
                        <a:lnTo>
                          <a:pt x="64" y="188"/>
                        </a:lnTo>
                        <a:lnTo>
                          <a:pt x="62" y="187"/>
                        </a:lnTo>
                        <a:lnTo>
                          <a:pt x="59" y="186"/>
                        </a:lnTo>
                        <a:lnTo>
                          <a:pt x="58" y="185"/>
                        </a:lnTo>
                        <a:lnTo>
                          <a:pt x="57" y="184"/>
                        </a:lnTo>
                        <a:lnTo>
                          <a:pt x="55" y="183"/>
                        </a:lnTo>
                        <a:lnTo>
                          <a:pt x="54" y="182"/>
                        </a:lnTo>
                        <a:lnTo>
                          <a:pt x="53" y="181"/>
                        </a:lnTo>
                        <a:lnTo>
                          <a:pt x="52" y="180"/>
                        </a:lnTo>
                        <a:lnTo>
                          <a:pt x="51" y="179"/>
                        </a:lnTo>
                        <a:lnTo>
                          <a:pt x="51" y="178"/>
                        </a:lnTo>
                        <a:lnTo>
                          <a:pt x="50" y="178"/>
                        </a:lnTo>
                        <a:lnTo>
                          <a:pt x="50" y="177"/>
                        </a:lnTo>
                        <a:lnTo>
                          <a:pt x="50" y="176"/>
                        </a:lnTo>
                        <a:lnTo>
                          <a:pt x="50" y="175"/>
                        </a:lnTo>
                        <a:lnTo>
                          <a:pt x="50" y="174"/>
                        </a:lnTo>
                        <a:lnTo>
                          <a:pt x="49" y="173"/>
                        </a:lnTo>
                        <a:lnTo>
                          <a:pt x="49" y="173"/>
                        </a:lnTo>
                        <a:lnTo>
                          <a:pt x="48" y="173"/>
                        </a:lnTo>
                        <a:lnTo>
                          <a:pt x="47" y="173"/>
                        </a:lnTo>
                        <a:lnTo>
                          <a:pt x="46" y="173"/>
                        </a:lnTo>
                        <a:lnTo>
                          <a:pt x="46" y="173"/>
                        </a:lnTo>
                        <a:lnTo>
                          <a:pt x="45" y="173"/>
                        </a:lnTo>
                        <a:lnTo>
                          <a:pt x="45" y="174"/>
                        </a:lnTo>
                        <a:lnTo>
                          <a:pt x="44" y="174"/>
                        </a:lnTo>
                        <a:lnTo>
                          <a:pt x="43" y="174"/>
                        </a:lnTo>
                        <a:lnTo>
                          <a:pt x="43" y="174"/>
                        </a:lnTo>
                        <a:lnTo>
                          <a:pt x="43" y="173"/>
                        </a:lnTo>
                        <a:lnTo>
                          <a:pt x="42" y="173"/>
                        </a:lnTo>
                        <a:lnTo>
                          <a:pt x="42" y="173"/>
                        </a:lnTo>
                        <a:lnTo>
                          <a:pt x="41" y="173"/>
                        </a:lnTo>
                        <a:lnTo>
                          <a:pt x="41" y="172"/>
                        </a:lnTo>
                        <a:lnTo>
                          <a:pt x="40" y="172"/>
                        </a:lnTo>
                        <a:lnTo>
                          <a:pt x="39" y="171"/>
                        </a:lnTo>
                        <a:lnTo>
                          <a:pt x="39" y="170"/>
                        </a:lnTo>
                        <a:lnTo>
                          <a:pt x="39" y="169"/>
                        </a:lnTo>
                        <a:lnTo>
                          <a:pt x="39" y="168"/>
                        </a:lnTo>
                        <a:lnTo>
                          <a:pt x="39" y="167"/>
                        </a:lnTo>
                        <a:lnTo>
                          <a:pt x="39" y="167"/>
                        </a:lnTo>
                        <a:lnTo>
                          <a:pt x="40" y="166"/>
                        </a:lnTo>
                        <a:lnTo>
                          <a:pt x="40" y="164"/>
                        </a:lnTo>
                        <a:lnTo>
                          <a:pt x="40" y="163"/>
                        </a:lnTo>
                        <a:lnTo>
                          <a:pt x="41" y="161"/>
                        </a:lnTo>
                        <a:lnTo>
                          <a:pt x="41" y="161"/>
                        </a:lnTo>
                        <a:lnTo>
                          <a:pt x="41" y="160"/>
                        </a:lnTo>
                        <a:lnTo>
                          <a:pt x="41" y="159"/>
                        </a:lnTo>
                        <a:lnTo>
                          <a:pt x="41" y="158"/>
                        </a:lnTo>
                        <a:lnTo>
                          <a:pt x="42" y="158"/>
                        </a:lnTo>
                        <a:lnTo>
                          <a:pt x="42" y="158"/>
                        </a:lnTo>
                        <a:lnTo>
                          <a:pt x="43" y="158"/>
                        </a:lnTo>
                        <a:lnTo>
                          <a:pt x="43" y="157"/>
                        </a:lnTo>
                        <a:lnTo>
                          <a:pt x="45" y="157"/>
                        </a:lnTo>
                        <a:lnTo>
                          <a:pt x="45" y="156"/>
                        </a:lnTo>
                        <a:lnTo>
                          <a:pt x="46" y="156"/>
                        </a:lnTo>
                        <a:lnTo>
                          <a:pt x="47" y="155"/>
                        </a:lnTo>
                        <a:lnTo>
                          <a:pt x="47" y="154"/>
                        </a:lnTo>
                        <a:lnTo>
                          <a:pt x="48" y="153"/>
                        </a:lnTo>
                        <a:lnTo>
                          <a:pt x="49" y="151"/>
                        </a:lnTo>
                        <a:lnTo>
                          <a:pt x="49" y="150"/>
                        </a:lnTo>
                        <a:lnTo>
                          <a:pt x="50" y="149"/>
                        </a:lnTo>
                        <a:lnTo>
                          <a:pt x="50" y="148"/>
                        </a:lnTo>
                        <a:lnTo>
                          <a:pt x="51" y="147"/>
                        </a:lnTo>
                        <a:lnTo>
                          <a:pt x="52" y="147"/>
                        </a:lnTo>
                        <a:lnTo>
                          <a:pt x="53" y="146"/>
                        </a:lnTo>
                        <a:lnTo>
                          <a:pt x="52" y="144"/>
                        </a:lnTo>
                        <a:lnTo>
                          <a:pt x="52" y="142"/>
                        </a:lnTo>
                        <a:lnTo>
                          <a:pt x="51" y="140"/>
                        </a:lnTo>
                        <a:lnTo>
                          <a:pt x="51" y="138"/>
                        </a:lnTo>
                        <a:lnTo>
                          <a:pt x="50" y="136"/>
                        </a:lnTo>
                        <a:lnTo>
                          <a:pt x="50" y="134"/>
                        </a:lnTo>
                        <a:lnTo>
                          <a:pt x="48" y="130"/>
                        </a:lnTo>
                        <a:lnTo>
                          <a:pt x="47" y="126"/>
                        </a:lnTo>
                        <a:lnTo>
                          <a:pt x="46" y="124"/>
                        </a:lnTo>
                        <a:lnTo>
                          <a:pt x="46" y="122"/>
                        </a:lnTo>
                        <a:lnTo>
                          <a:pt x="45" y="120"/>
                        </a:lnTo>
                        <a:lnTo>
                          <a:pt x="45" y="118"/>
                        </a:lnTo>
                        <a:lnTo>
                          <a:pt x="45" y="115"/>
                        </a:lnTo>
                        <a:lnTo>
                          <a:pt x="45" y="113"/>
                        </a:lnTo>
                        <a:lnTo>
                          <a:pt x="43" y="111"/>
                        </a:lnTo>
                        <a:lnTo>
                          <a:pt x="42" y="109"/>
                        </a:lnTo>
                        <a:lnTo>
                          <a:pt x="40" y="107"/>
                        </a:lnTo>
                        <a:lnTo>
                          <a:pt x="39" y="105"/>
                        </a:lnTo>
                        <a:lnTo>
                          <a:pt x="36" y="102"/>
                        </a:lnTo>
                        <a:lnTo>
                          <a:pt x="33" y="98"/>
                        </a:lnTo>
                        <a:lnTo>
                          <a:pt x="31" y="98"/>
                        </a:lnTo>
                        <a:lnTo>
                          <a:pt x="29" y="98"/>
                        </a:lnTo>
                        <a:lnTo>
                          <a:pt x="28" y="98"/>
                        </a:lnTo>
                        <a:lnTo>
                          <a:pt x="26" y="98"/>
                        </a:lnTo>
                        <a:lnTo>
                          <a:pt x="26" y="97"/>
                        </a:lnTo>
                        <a:lnTo>
                          <a:pt x="25" y="97"/>
                        </a:lnTo>
                        <a:lnTo>
                          <a:pt x="24" y="96"/>
                        </a:lnTo>
                        <a:lnTo>
                          <a:pt x="22" y="95"/>
                        </a:lnTo>
                        <a:lnTo>
                          <a:pt x="21" y="94"/>
                        </a:lnTo>
                        <a:lnTo>
                          <a:pt x="19" y="94"/>
                        </a:lnTo>
                        <a:lnTo>
                          <a:pt x="18" y="93"/>
                        </a:lnTo>
                        <a:lnTo>
                          <a:pt x="16" y="92"/>
                        </a:lnTo>
                        <a:lnTo>
                          <a:pt x="15" y="91"/>
                        </a:lnTo>
                        <a:lnTo>
                          <a:pt x="14" y="91"/>
                        </a:lnTo>
                        <a:lnTo>
                          <a:pt x="14" y="90"/>
                        </a:lnTo>
                        <a:lnTo>
                          <a:pt x="14" y="90"/>
                        </a:lnTo>
                        <a:lnTo>
                          <a:pt x="13" y="89"/>
                        </a:lnTo>
                        <a:lnTo>
                          <a:pt x="13" y="89"/>
                        </a:lnTo>
                        <a:lnTo>
                          <a:pt x="12" y="89"/>
                        </a:lnTo>
                        <a:lnTo>
                          <a:pt x="11" y="88"/>
                        </a:lnTo>
                        <a:lnTo>
                          <a:pt x="9" y="88"/>
                        </a:lnTo>
                        <a:lnTo>
                          <a:pt x="8" y="88"/>
                        </a:lnTo>
                        <a:lnTo>
                          <a:pt x="6" y="88"/>
                        </a:lnTo>
                        <a:lnTo>
                          <a:pt x="5" y="88"/>
                        </a:lnTo>
                        <a:lnTo>
                          <a:pt x="5" y="83"/>
                        </a:lnTo>
                        <a:lnTo>
                          <a:pt x="5" y="83"/>
                        </a:lnTo>
                        <a:lnTo>
                          <a:pt x="5" y="82"/>
                        </a:lnTo>
                        <a:lnTo>
                          <a:pt x="4" y="82"/>
                        </a:lnTo>
                        <a:lnTo>
                          <a:pt x="4" y="82"/>
                        </a:lnTo>
                        <a:lnTo>
                          <a:pt x="4" y="82"/>
                        </a:lnTo>
                        <a:lnTo>
                          <a:pt x="4" y="82"/>
                        </a:lnTo>
                        <a:lnTo>
                          <a:pt x="3" y="82"/>
                        </a:lnTo>
                        <a:lnTo>
                          <a:pt x="3" y="82"/>
                        </a:lnTo>
                        <a:lnTo>
                          <a:pt x="2" y="81"/>
                        </a:lnTo>
                        <a:lnTo>
                          <a:pt x="2" y="81"/>
                        </a:lnTo>
                        <a:lnTo>
                          <a:pt x="1" y="81"/>
                        </a:lnTo>
                        <a:lnTo>
                          <a:pt x="1" y="81"/>
                        </a:lnTo>
                        <a:lnTo>
                          <a:pt x="0" y="80"/>
                        </a:lnTo>
                        <a:lnTo>
                          <a:pt x="0" y="80"/>
                        </a:lnTo>
                        <a:lnTo>
                          <a:pt x="0" y="80"/>
                        </a:lnTo>
                        <a:lnTo>
                          <a:pt x="0" y="79"/>
                        </a:lnTo>
                        <a:lnTo>
                          <a:pt x="0" y="78"/>
                        </a:lnTo>
                        <a:lnTo>
                          <a:pt x="0" y="78"/>
                        </a:lnTo>
                        <a:lnTo>
                          <a:pt x="1" y="78"/>
                        </a:lnTo>
                        <a:lnTo>
                          <a:pt x="1" y="77"/>
                        </a:lnTo>
                        <a:lnTo>
                          <a:pt x="2" y="77"/>
                        </a:lnTo>
                        <a:lnTo>
                          <a:pt x="2" y="77"/>
                        </a:lnTo>
                        <a:lnTo>
                          <a:pt x="3" y="76"/>
                        </a:lnTo>
                        <a:lnTo>
                          <a:pt x="3" y="77"/>
                        </a:lnTo>
                        <a:lnTo>
                          <a:pt x="4" y="76"/>
                        </a:lnTo>
                        <a:lnTo>
                          <a:pt x="4" y="76"/>
                        </a:lnTo>
                        <a:lnTo>
                          <a:pt x="4" y="76"/>
                        </a:lnTo>
                        <a:lnTo>
                          <a:pt x="4" y="76"/>
                        </a:lnTo>
                        <a:lnTo>
                          <a:pt x="4" y="75"/>
                        </a:lnTo>
                        <a:lnTo>
                          <a:pt x="5" y="75"/>
                        </a:lnTo>
                        <a:lnTo>
                          <a:pt x="5" y="75"/>
                        </a:lnTo>
                        <a:lnTo>
                          <a:pt x="5" y="75"/>
                        </a:lnTo>
                        <a:lnTo>
                          <a:pt x="6" y="75"/>
                        </a:lnTo>
                        <a:lnTo>
                          <a:pt x="7" y="75"/>
                        </a:lnTo>
                        <a:lnTo>
                          <a:pt x="8" y="75"/>
                        </a:lnTo>
                        <a:lnTo>
                          <a:pt x="8" y="75"/>
                        </a:lnTo>
                        <a:lnTo>
                          <a:pt x="9" y="75"/>
                        </a:lnTo>
                        <a:lnTo>
                          <a:pt x="9" y="75"/>
                        </a:lnTo>
                        <a:lnTo>
                          <a:pt x="9" y="74"/>
                        </a:lnTo>
                        <a:lnTo>
                          <a:pt x="9" y="74"/>
                        </a:lnTo>
                        <a:lnTo>
                          <a:pt x="9" y="74"/>
                        </a:lnTo>
                        <a:lnTo>
                          <a:pt x="9" y="73"/>
                        </a:lnTo>
                        <a:lnTo>
                          <a:pt x="9" y="73"/>
                        </a:lnTo>
                        <a:lnTo>
                          <a:pt x="10" y="73"/>
                        </a:lnTo>
                        <a:lnTo>
                          <a:pt x="10" y="73"/>
                        </a:lnTo>
                        <a:lnTo>
                          <a:pt x="11" y="73"/>
                        </a:lnTo>
                        <a:lnTo>
                          <a:pt x="11" y="73"/>
                        </a:lnTo>
                        <a:lnTo>
                          <a:pt x="12" y="73"/>
                        </a:lnTo>
                        <a:lnTo>
                          <a:pt x="12" y="73"/>
                        </a:lnTo>
                        <a:lnTo>
                          <a:pt x="13" y="72"/>
                        </a:lnTo>
                        <a:lnTo>
                          <a:pt x="13" y="72"/>
                        </a:lnTo>
                        <a:lnTo>
                          <a:pt x="14" y="72"/>
                        </a:lnTo>
                        <a:lnTo>
                          <a:pt x="14" y="71"/>
                        </a:lnTo>
                        <a:lnTo>
                          <a:pt x="14" y="70"/>
                        </a:lnTo>
                        <a:lnTo>
                          <a:pt x="15" y="70"/>
                        </a:lnTo>
                        <a:lnTo>
                          <a:pt x="15" y="69"/>
                        </a:lnTo>
                        <a:lnTo>
                          <a:pt x="16" y="69"/>
                        </a:lnTo>
                        <a:lnTo>
                          <a:pt x="16" y="69"/>
                        </a:lnTo>
                        <a:lnTo>
                          <a:pt x="17" y="68"/>
                        </a:lnTo>
                        <a:lnTo>
                          <a:pt x="17" y="67"/>
                        </a:lnTo>
                        <a:lnTo>
                          <a:pt x="18" y="67"/>
                        </a:lnTo>
                        <a:lnTo>
                          <a:pt x="18" y="66"/>
                        </a:lnTo>
                        <a:lnTo>
                          <a:pt x="18" y="65"/>
                        </a:lnTo>
                        <a:lnTo>
                          <a:pt x="18" y="64"/>
                        </a:lnTo>
                        <a:lnTo>
                          <a:pt x="18" y="64"/>
                        </a:lnTo>
                        <a:lnTo>
                          <a:pt x="18" y="64"/>
                        </a:lnTo>
                        <a:lnTo>
                          <a:pt x="17" y="64"/>
                        </a:lnTo>
                        <a:lnTo>
                          <a:pt x="17" y="63"/>
                        </a:lnTo>
                        <a:lnTo>
                          <a:pt x="17" y="63"/>
                        </a:lnTo>
                        <a:lnTo>
                          <a:pt x="16" y="63"/>
                        </a:lnTo>
                        <a:lnTo>
                          <a:pt x="16" y="63"/>
                        </a:lnTo>
                        <a:lnTo>
                          <a:pt x="16" y="62"/>
                        </a:lnTo>
                        <a:lnTo>
                          <a:pt x="16" y="62"/>
                        </a:lnTo>
                        <a:lnTo>
                          <a:pt x="16" y="61"/>
                        </a:lnTo>
                        <a:lnTo>
                          <a:pt x="16" y="60"/>
                        </a:lnTo>
                        <a:lnTo>
                          <a:pt x="15" y="60"/>
                        </a:lnTo>
                        <a:lnTo>
                          <a:pt x="15" y="59"/>
                        </a:lnTo>
                        <a:lnTo>
                          <a:pt x="15" y="58"/>
                        </a:lnTo>
                        <a:lnTo>
                          <a:pt x="15" y="58"/>
                        </a:lnTo>
                        <a:lnTo>
                          <a:pt x="15" y="57"/>
                        </a:lnTo>
                        <a:lnTo>
                          <a:pt x="14" y="57"/>
                        </a:lnTo>
                        <a:lnTo>
                          <a:pt x="14" y="57"/>
                        </a:lnTo>
                        <a:lnTo>
                          <a:pt x="14" y="57"/>
                        </a:lnTo>
                        <a:lnTo>
                          <a:pt x="14" y="57"/>
                        </a:lnTo>
                        <a:lnTo>
                          <a:pt x="13" y="56"/>
                        </a:lnTo>
                        <a:lnTo>
                          <a:pt x="13" y="56"/>
                        </a:lnTo>
                        <a:lnTo>
                          <a:pt x="13" y="56"/>
                        </a:lnTo>
                        <a:lnTo>
                          <a:pt x="13" y="55"/>
                        </a:lnTo>
                        <a:lnTo>
                          <a:pt x="14" y="55"/>
                        </a:lnTo>
                        <a:lnTo>
                          <a:pt x="14" y="54"/>
                        </a:lnTo>
                        <a:lnTo>
                          <a:pt x="15" y="53"/>
                        </a:lnTo>
                        <a:lnTo>
                          <a:pt x="16" y="52"/>
                        </a:lnTo>
                        <a:lnTo>
                          <a:pt x="17" y="51"/>
                        </a:lnTo>
                        <a:lnTo>
                          <a:pt x="18" y="51"/>
                        </a:lnTo>
                        <a:lnTo>
                          <a:pt x="18" y="50"/>
                        </a:lnTo>
                        <a:lnTo>
                          <a:pt x="19" y="50"/>
                        </a:lnTo>
                        <a:lnTo>
                          <a:pt x="19" y="49"/>
                        </a:lnTo>
                        <a:lnTo>
                          <a:pt x="19" y="48"/>
                        </a:lnTo>
                        <a:lnTo>
                          <a:pt x="25" y="48"/>
                        </a:lnTo>
                        <a:lnTo>
                          <a:pt x="24" y="49"/>
                        </a:lnTo>
                        <a:lnTo>
                          <a:pt x="24" y="49"/>
                        </a:lnTo>
                        <a:lnTo>
                          <a:pt x="25" y="49"/>
                        </a:lnTo>
                        <a:lnTo>
                          <a:pt x="25" y="50"/>
                        </a:lnTo>
                        <a:lnTo>
                          <a:pt x="25" y="50"/>
                        </a:lnTo>
                        <a:lnTo>
                          <a:pt x="25" y="50"/>
                        </a:lnTo>
                        <a:lnTo>
                          <a:pt x="26" y="50"/>
                        </a:lnTo>
                        <a:lnTo>
                          <a:pt x="26" y="50"/>
                        </a:lnTo>
                        <a:lnTo>
                          <a:pt x="36" y="50"/>
                        </a:lnTo>
                        <a:lnTo>
                          <a:pt x="37" y="50"/>
                        </a:lnTo>
                        <a:lnTo>
                          <a:pt x="37" y="50"/>
                        </a:lnTo>
                        <a:lnTo>
                          <a:pt x="37" y="50"/>
                        </a:lnTo>
                        <a:lnTo>
                          <a:pt x="37" y="50"/>
                        </a:lnTo>
                        <a:lnTo>
                          <a:pt x="38" y="49"/>
                        </a:lnTo>
                        <a:lnTo>
                          <a:pt x="38" y="49"/>
                        </a:lnTo>
                        <a:lnTo>
                          <a:pt x="38" y="49"/>
                        </a:lnTo>
                        <a:lnTo>
                          <a:pt x="38" y="48"/>
                        </a:lnTo>
                        <a:lnTo>
                          <a:pt x="38" y="48"/>
                        </a:lnTo>
                        <a:lnTo>
                          <a:pt x="38" y="48"/>
                        </a:lnTo>
                        <a:lnTo>
                          <a:pt x="39" y="48"/>
                        </a:lnTo>
                        <a:lnTo>
                          <a:pt x="39" y="48"/>
                        </a:lnTo>
                        <a:lnTo>
                          <a:pt x="39" y="47"/>
                        </a:lnTo>
                        <a:lnTo>
                          <a:pt x="39" y="47"/>
                        </a:lnTo>
                        <a:lnTo>
                          <a:pt x="39" y="46"/>
                        </a:lnTo>
                        <a:lnTo>
                          <a:pt x="39" y="45"/>
                        </a:lnTo>
                        <a:lnTo>
                          <a:pt x="39" y="44"/>
                        </a:lnTo>
                        <a:lnTo>
                          <a:pt x="39" y="43"/>
                        </a:lnTo>
                        <a:lnTo>
                          <a:pt x="40" y="43"/>
                        </a:lnTo>
                        <a:lnTo>
                          <a:pt x="39" y="42"/>
                        </a:lnTo>
                        <a:lnTo>
                          <a:pt x="39" y="42"/>
                        </a:lnTo>
                        <a:lnTo>
                          <a:pt x="39" y="42"/>
                        </a:lnTo>
                        <a:lnTo>
                          <a:pt x="39" y="42"/>
                        </a:lnTo>
                        <a:lnTo>
                          <a:pt x="38" y="42"/>
                        </a:lnTo>
                        <a:lnTo>
                          <a:pt x="38" y="42"/>
                        </a:lnTo>
                        <a:lnTo>
                          <a:pt x="38" y="42"/>
                        </a:lnTo>
                        <a:lnTo>
                          <a:pt x="37" y="42"/>
                        </a:lnTo>
                        <a:lnTo>
                          <a:pt x="37" y="42"/>
                        </a:lnTo>
                        <a:lnTo>
                          <a:pt x="37" y="42"/>
                        </a:lnTo>
                        <a:lnTo>
                          <a:pt x="36" y="42"/>
                        </a:lnTo>
                        <a:lnTo>
                          <a:pt x="36" y="41"/>
                        </a:lnTo>
                        <a:lnTo>
                          <a:pt x="36" y="41"/>
                        </a:lnTo>
                        <a:lnTo>
                          <a:pt x="36" y="40"/>
                        </a:lnTo>
                        <a:lnTo>
                          <a:pt x="36" y="40"/>
                        </a:lnTo>
                        <a:lnTo>
                          <a:pt x="36" y="40"/>
                        </a:lnTo>
                        <a:lnTo>
                          <a:pt x="35" y="40"/>
                        </a:lnTo>
                        <a:lnTo>
                          <a:pt x="35" y="40"/>
                        </a:lnTo>
                        <a:lnTo>
                          <a:pt x="35" y="40"/>
                        </a:lnTo>
                        <a:lnTo>
                          <a:pt x="34" y="40"/>
                        </a:lnTo>
                        <a:lnTo>
                          <a:pt x="33" y="40"/>
                        </a:lnTo>
                        <a:lnTo>
                          <a:pt x="33" y="40"/>
                        </a:lnTo>
                        <a:lnTo>
                          <a:pt x="32" y="40"/>
                        </a:lnTo>
                        <a:lnTo>
                          <a:pt x="32" y="39"/>
                        </a:lnTo>
                        <a:lnTo>
                          <a:pt x="31" y="39"/>
                        </a:lnTo>
                        <a:lnTo>
                          <a:pt x="30" y="39"/>
                        </a:lnTo>
                        <a:lnTo>
                          <a:pt x="30" y="38"/>
                        </a:lnTo>
                        <a:lnTo>
                          <a:pt x="29" y="38"/>
                        </a:lnTo>
                        <a:lnTo>
                          <a:pt x="29" y="38"/>
                        </a:lnTo>
                        <a:lnTo>
                          <a:pt x="28" y="38"/>
                        </a:lnTo>
                        <a:lnTo>
                          <a:pt x="28" y="38"/>
                        </a:lnTo>
                        <a:lnTo>
                          <a:pt x="28" y="38"/>
                        </a:lnTo>
                        <a:lnTo>
                          <a:pt x="28" y="37"/>
                        </a:lnTo>
                        <a:lnTo>
                          <a:pt x="28" y="37"/>
                        </a:lnTo>
                        <a:lnTo>
                          <a:pt x="27" y="37"/>
                        </a:lnTo>
                        <a:lnTo>
                          <a:pt x="27" y="37"/>
                        </a:lnTo>
                        <a:lnTo>
                          <a:pt x="27" y="37"/>
                        </a:lnTo>
                        <a:lnTo>
                          <a:pt x="26" y="37"/>
                        </a:lnTo>
                        <a:lnTo>
                          <a:pt x="26" y="37"/>
                        </a:lnTo>
                        <a:lnTo>
                          <a:pt x="26" y="36"/>
                        </a:lnTo>
                        <a:lnTo>
                          <a:pt x="25" y="36"/>
                        </a:lnTo>
                        <a:lnTo>
                          <a:pt x="25" y="36"/>
                        </a:lnTo>
                        <a:lnTo>
                          <a:pt x="24" y="36"/>
                        </a:lnTo>
                        <a:lnTo>
                          <a:pt x="24" y="36"/>
                        </a:lnTo>
                        <a:lnTo>
                          <a:pt x="23" y="36"/>
                        </a:lnTo>
                        <a:lnTo>
                          <a:pt x="23" y="35"/>
                        </a:lnTo>
                        <a:lnTo>
                          <a:pt x="23" y="35"/>
                        </a:lnTo>
                        <a:lnTo>
                          <a:pt x="23" y="35"/>
                        </a:lnTo>
                        <a:lnTo>
                          <a:pt x="24" y="35"/>
                        </a:lnTo>
                        <a:lnTo>
                          <a:pt x="26" y="34"/>
                        </a:lnTo>
                        <a:lnTo>
                          <a:pt x="27" y="34"/>
                        </a:lnTo>
                        <a:lnTo>
                          <a:pt x="28" y="33"/>
                        </a:lnTo>
                        <a:lnTo>
                          <a:pt x="29" y="33"/>
                        </a:lnTo>
                        <a:lnTo>
                          <a:pt x="30" y="32"/>
                        </a:lnTo>
                        <a:lnTo>
                          <a:pt x="30" y="32"/>
                        </a:lnTo>
                        <a:lnTo>
                          <a:pt x="31" y="31"/>
                        </a:lnTo>
                        <a:lnTo>
                          <a:pt x="31" y="30"/>
                        </a:lnTo>
                        <a:lnTo>
                          <a:pt x="31" y="30"/>
                        </a:lnTo>
                        <a:lnTo>
                          <a:pt x="31" y="29"/>
                        </a:lnTo>
                        <a:lnTo>
                          <a:pt x="31" y="29"/>
                        </a:lnTo>
                        <a:lnTo>
                          <a:pt x="31" y="29"/>
                        </a:lnTo>
                        <a:lnTo>
                          <a:pt x="31" y="29"/>
                        </a:lnTo>
                        <a:lnTo>
                          <a:pt x="30" y="28"/>
                        </a:lnTo>
                        <a:lnTo>
                          <a:pt x="30" y="28"/>
                        </a:lnTo>
                        <a:lnTo>
                          <a:pt x="30" y="28"/>
                        </a:lnTo>
                        <a:lnTo>
                          <a:pt x="29" y="28"/>
                        </a:lnTo>
                        <a:lnTo>
                          <a:pt x="29" y="28"/>
                        </a:lnTo>
                        <a:lnTo>
                          <a:pt x="29" y="28"/>
                        </a:lnTo>
                        <a:lnTo>
                          <a:pt x="28" y="28"/>
                        </a:lnTo>
                        <a:lnTo>
                          <a:pt x="28" y="28"/>
                        </a:lnTo>
                        <a:lnTo>
                          <a:pt x="28" y="28"/>
                        </a:lnTo>
                        <a:lnTo>
                          <a:pt x="28" y="28"/>
                        </a:lnTo>
                        <a:lnTo>
                          <a:pt x="27" y="27"/>
                        </a:lnTo>
                        <a:lnTo>
                          <a:pt x="27" y="27"/>
                        </a:lnTo>
                        <a:lnTo>
                          <a:pt x="27" y="27"/>
                        </a:lnTo>
                        <a:lnTo>
                          <a:pt x="27" y="27"/>
                        </a:lnTo>
                        <a:lnTo>
                          <a:pt x="26" y="27"/>
                        </a:lnTo>
                        <a:lnTo>
                          <a:pt x="25" y="27"/>
                        </a:lnTo>
                        <a:lnTo>
                          <a:pt x="24" y="27"/>
                        </a:lnTo>
                        <a:lnTo>
                          <a:pt x="24" y="27"/>
                        </a:lnTo>
                        <a:lnTo>
                          <a:pt x="23" y="27"/>
                        </a:lnTo>
                        <a:lnTo>
                          <a:pt x="22" y="27"/>
                        </a:lnTo>
                        <a:lnTo>
                          <a:pt x="22" y="27"/>
                        </a:lnTo>
                        <a:lnTo>
                          <a:pt x="22" y="26"/>
                        </a:lnTo>
                        <a:lnTo>
                          <a:pt x="21" y="26"/>
                        </a:lnTo>
                        <a:lnTo>
                          <a:pt x="21" y="26"/>
                        </a:lnTo>
                        <a:lnTo>
                          <a:pt x="21" y="26"/>
                        </a:lnTo>
                        <a:lnTo>
                          <a:pt x="21" y="25"/>
                        </a:lnTo>
                        <a:lnTo>
                          <a:pt x="21" y="25"/>
                        </a:lnTo>
                        <a:lnTo>
                          <a:pt x="22" y="25"/>
                        </a:lnTo>
                        <a:lnTo>
                          <a:pt x="22" y="25"/>
                        </a:lnTo>
                        <a:lnTo>
                          <a:pt x="22" y="25"/>
                        </a:lnTo>
                        <a:lnTo>
                          <a:pt x="23" y="25"/>
                        </a:lnTo>
                        <a:lnTo>
                          <a:pt x="23" y="24"/>
                        </a:lnTo>
                        <a:lnTo>
                          <a:pt x="23" y="24"/>
                        </a:lnTo>
                        <a:lnTo>
                          <a:pt x="23" y="24"/>
                        </a:lnTo>
                        <a:lnTo>
                          <a:pt x="23" y="23"/>
                        </a:lnTo>
                        <a:lnTo>
                          <a:pt x="23" y="23"/>
                        </a:lnTo>
                        <a:lnTo>
                          <a:pt x="23" y="23"/>
                        </a:lnTo>
                        <a:lnTo>
                          <a:pt x="23" y="22"/>
                        </a:lnTo>
                        <a:lnTo>
                          <a:pt x="23" y="22"/>
                        </a:lnTo>
                        <a:lnTo>
                          <a:pt x="23" y="21"/>
                        </a:lnTo>
                        <a:lnTo>
                          <a:pt x="23" y="21"/>
                        </a:lnTo>
                        <a:lnTo>
                          <a:pt x="24" y="21"/>
                        </a:lnTo>
                        <a:lnTo>
                          <a:pt x="24" y="21"/>
                        </a:lnTo>
                        <a:lnTo>
                          <a:pt x="24" y="21"/>
                        </a:lnTo>
                        <a:lnTo>
                          <a:pt x="24" y="21"/>
                        </a:lnTo>
                        <a:lnTo>
                          <a:pt x="24" y="21"/>
                        </a:lnTo>
                        <a:lnTo>
                          <a:pt x="24" y="20"/>
                        </a:lnTo>
                        <a:lnTo>
                          <a:pt x="23" y="20"/>
                        </a:lnTo>
                        <a:lnTo>
                          <a:pt x="23" y="20"/>
                        </a:lnTo>
                        <a:lnTo>
                          <a:pt x="23" y="20"/>
                        </a:lnTo>
                        <a:lnTo>
                          <a:pt x="23" y="20"/>
                        </a:lnTo>
                        <a:lnTo>
                          <a:pt x="23" y="19"/>
                        </a:lnTo>
                        <a:lnTo>
                          <a:pt x="23" y="19"/>
                        </a:lnTo>
                        <a:lnTo>
                          <a:pt x="22" y="18"/>
                        </a:lnTo>
                        <a:lnTo>
                          <a:pt x="22" y="18"/>
                        </a:lnTo>
                        <a:lnTo>
                          <a:pt x="22" y="18"/>
                        </a:lnTo>
                        <a:lnTo>
                          <a:pt x="22" y="17"/>
                        </a:lnTo>
                        <a:lnTo>
                          <a:pt x="22" y="17"/>
                        </a:lnTo>
                        <a:lnTo>
                          <a:pt x="22" y="17"/>
                        </a:lnTo>
                        <a:lnTo>
                          <a:pt x="22" y="17"/>
                        </a:lnTo>
                        <a:lnTo>
                          <a:pt x="22" y="17"/>
                        </a:lnTo>
                        <a:lnTo>
                          <a:pt x="22" y="17"/>
                        </a:lnTo>
                        <a:lnTo>
                          <a:pt x="23" y="17"/>
                        </a:lnTo>
                        <a:lnTo>
                          <a:pt x="28" y="17"/>
                        </a:lnTo>
                        <a:lnTo>
                          <a:pt x="28" y="17"/>
                        </a:lnTo>
                        <a:lnTo>
                          <a:pt x="29" y="17"/>
                        </a:lnTo>
                        <a:lnTo>
                          <a:pt x="29" y="17"/>
                        </a:lnTo>
                        <a:lnTo>
                          <a:pt x="29" y="17"/>
                        </a:lnTo>
                        <a:lnTo>
                          <a:pt x="29" y="17"/>
                        </a:lnTo>
                        <a:lnTo>
                          <a:pt x="29" y="17"/>
                        </a:lnTo>
                        <a:lnTo>
                          <a:pt x="29" y="18"/>
                        </a:lnTo>
                        <a:lnTo>
                          <a:pt x="30" y="18"/>
                        </a:lnTo>
                        <a:lnTo>
                          <a:pt x="30" y="18"/>
                        </a:lnTo>
                        <a:lnTo>
                          <a:pt x="30" y="18"/>
                        </a:lnTo>
                        <a:lnTo>
                          <a:pt x="31" y="18"/>
                        </a:lnTo>
                        <a:lnTo>
                          <a:pt x="31" y="18"/>
                        </a:lnTo>
                        <a:lnTo>
                          <a:pt x="35" y="18"/>
                        </a:lnTo>
                        <a:lnTo>
                          <a:pt x="39" y="18"/>
                        </a:lnTo>
                        <a:lnTo>
                          <a:pt x="44" y="18"/>
                        </a:lnTo>
                        <a:lnTo>
                          <a:pt x="48" y="18"/>
                        </a:lnTo>
                        <a:lnTo>
                          <a:pt x="49" y="18"/>
                        </a:lnTo>
                        <a:lnTo>
                          <a:pt x="50" y="18"/>
                        </a:lnTo>
                        <a:lnTo>
                          <a:pt x="51" y="18"/>
                        </a:lnTo>
                        <a:lnTo>
                          <a:pt x="52" y="18"/>
                        </a:lnTo>
                        <a:lnTo>
                          <a:pt x="53" y="18"/>
                        </a:lnTo>
                        <a:lnTo>
                          <a:pt x="53" y="18"/>
                        </a:lnTo>
                        <a:lnTo>
                          <a:pt x="54" y="18"/>
                        </a:lnTo>
                        <a:lnTo>
                          <a:pt x="54" y="18"/>
                        </a:lnTo>
                        <a:lnTo>
                          <a:pt x="54" y="17"/>
                        </a:lnTo>
                        <a:lnTo>
                          <a:pt x="54" y="17"/>
                        </a:lnTo>
                        <a:lnTo>
                          <a:pt x="54" y="17"/>
                        </a:lnTo>
                        <a:lnTo>
                          <a:pt x="56" y="17"/>
                        </a:lnTo>
                        <a:lnTo>
                          <a:pt x="56" y="17"/>
                        </a:lnTo>
                        <a:lnTo>
                          <a:pt x="57" y="17"/>
                        </a:lnTo>
                        <a:lnTo>
                          <a:pt x="58" y="17"/>
                        </a:lnTo>
                        <a:lnTo>
                          <a:pt x="59" y="17"/>
                        </a:lnTo>
                        <a:lnTo>
                          <a:pt x="59" y="16"/>
                        </a:lnTo>
                        <a:lnTo>
                          <a:pt x="60" y="16"/>
                        </a:lnTo>
                        <a:lnTo>
                          <a:pt x="62" y="15"/>
                        </a:lnTo>
                        <a:lnTo>
                          <a:pt x="62" y="15"/>
                        </a:lnTo>
                        <a:lnTo>
                          <a:pt x="63" y="15"/>
                        </a:lnTo>
                        <a:lnTo>
                          <a:pt x="63" y="15"/>
                        </a:lnTo>
                        <a:lnTo>
                          <a:pt x="64" y="15"/>
                        </a:lnTo>
                        <a:lnTo>
                          <a:pt x="65" y="15"/>
                        </a:lnTo>
                        <a:lnTo>
                          <a:pt x="66" y="15"/>
                        </a:lnTo>
                        <a:lnTo>
                          <a:pt x="67" y="15"/>
                        </a:lnTo>
                        <a:lnTo>
                          <a:pt x="67" y="15"/>
                        </a:lnTo>
                        <a:lnTo>
                          <a:pt x="67" y="15"/>
                        </a:lnTo>
                        <a:lnTo>
                          <a:pt x="67" y="15"/>
                        </a:lnTo>
                        <a:lnTo>
                          <a:pt x="68" y="14"/>
                        </a:lnTo>
                        <a:lnTo>
                          <a:pt x="68" y="14"/>
                        </a:lnTo>
                        <a:lnTo>
                          <a:pt x="68" y="14"/>
                        </a:lnTo>
                        <a:lnTo>
                          <a:pt x="68" y="13"/>
                        </a:lnTo>
                        <a:lnTo>
                          <a:pt x="69" y="13"/>
                        </a:lnTo>
                        <a:lnTo>
                          <a:pt x="69" y="14"/>
                        </a:lnTo>
                        <a:lnTo>
                          <a:pt x="70" y="14"/>
                        </a:lnTo>
                        <a:lnTo>
                          <a:pt x="71" y="14"/>
                        </a:lnTo>
                        <a:lnTo>
                          <a:pt x="72" y="13"/>
                        </a:lnTo>
                        <a:lnTo>
                          <a:pt x="73" y="13"/>
                        </a:lnTo>
                        <a:lnTo>
                          <a:pt x="74" y="13"/>
                        </a:lnTo>
                        <a:lnTo>
                          <a:pt x="75" y="12"/>
                        </a:lnTo>
                        <a:lnTo>
                          <a:pt x="75" y="12"/>
                        </a:lnTo>
                        <a:lnTo>
                          <a:pt x="77" y="11"/>
                        </a:lnTo>
                        <a:lnTo>
                          <a:pt x="78" y="11"/>
                        </a:lnTo>
                        <a:lnTo>
                          <a:pt x="79" y="10"/>
                        </a:lnTo>
                        <a:lnTo>
                          <a:pt x="79" y="10"/>
                        </a:lnTo>
                        <a:lnTo>
                          <a:pt x="80" y="10"/>
                        </a:lnTo>
                        <a:lnTo>
                          <a:pt x="82" y="10"/>
                        </a:lnTo>
                        <a:lnTo>
                          <a:pt x="83" y="10"/>
                        </a:lnTo>
                        <a:lnTo>
                          <a:pt x="83" y="10"/>
                        </a:lnTo>
                        <a:lnTo>
                          <a:pt x="83" y="11"/>
                        </a:lnTo>
                        <a:lnTo>
                          <a:pt x="83" y="11"/>
                        </a:lnTo>
                        <a:lnTo>
                          <a:pt x="83" y="11"/>
                        </a:lnTo>
                        <a:lnTo>
                          <a:pt x="84" y="11"/>
                        </a:lnTo>
                        <a:lnTo>
                          <a:pt x="84" y="11"/>
                        </a:lnTo>
                        <a:lnTo>
                          <a:pt x="85" y="11"/>
                        </a:lnTo>
                        <a:lnTo>
                          <a:pt x="85" y="12"/>
                        </a:lnTo>
                        <a:lnTo>
                          <a:pt x="86" y="12"/>
                        </a:lnTo>
                        <a:lnTo>
                          <a:pt x="87" y="12"/>
                        </a:lnTo>
                        <a:lnTo>
                          <a:pt x="88" y="12"/>
                        </a:lnTo>
                        <a:lnTo>
                          <a:pt x="90" y="12"/>
                        </a:lnTo>
                        <a:lnTo>
                          <a:pt x="92" y="12"/>
                        </a:lnTo>
                        <a:lnTo>
                          <a:pt x="94" y="12"/>
                        </a:lnTo>
                        <a:lnTo>
                          <a:pt x="96" y="12"/>
                        </a:lnTo>
                        <a:lnTo>
                          <a:pt x="97" y="12"/>
                        </a:lnTo>
                        <a:lnTo>
                          <a:pt x="97" y="12"/>
                        </a:lnTo>
                        <a:lnTo>
                          <a:pt x="97" y="12"/>
                        </a:lnTo>
                        <a:lnTo>
                          <a:pt x="97" y="11"/>
                        </a:lnTo>
                        <a:lnTo>
                          <a:pt x="98" y="11"/>
                        </a:lnTo>
                        <a:lnTo>
                          <a:pt x="98" y="11"/>
                        </a:lnTo>
                        <a:lnTo>
                          <a:pt x="98" y="10"/>
                        </a:lnTo>
                        <a:lnTo>
                          <a:pt x="98" y="10"/>
                        </a:lnTo>
                        <a:lnTo>
                          <a:pt x="98" y="10"/>
                        </a:lnTo>
                        <a:lnTo>
                          <a:pt x="99" y="10"/>
                        </a:lnTo>
                        <a:lnTo>
                          <a:pt x="99" y="10"/>
                        </a:lnTo>
                        <a:lnTo>
                          <a:pt x="99" y="10"/>
                        </a:lnTo>
                        <a:lnTo>
                          <a:pt x="99" y="9"/>
                        </a:lnTo>
                        <a:lnTo>
                          <a:pt x="99" y="9"/>
                        </a:lnTo>
                        <a:lnTo>
                          <a:pt x="99" y="9"/>
                        </a:lnTo>
                        <a:lnTo>
                          <a:pt x="99" y="8"/>
                        </a:lnTo>
                        <a:lnTo>
                          <a:pt x="99" y="7"/>
                        </a:lnTo>
                        <a:lnTo>
                          <a:pt x="99" y="7"/>
                        </a:lnTo>
                        <a:lnTo>
                          <a:pt x="99" y="6"/>
                        </a:lnTo>
                        <a:lnTo>
                          <a:pt x="99" y="5"/>
                        </a:lnTo>
                        <a:lnTo>
                          <a:pt x="100" y="5"/>
                        </a:lnTo>
                        <a:lnTo>
                          <a:pt x="100" y="5"/>
                        </a:lnTo>
                        <a:lnTo>
                          <a:pt x="101" y="5"/>
                        </a:lnTo>
                        <a:lnTo>
                          <a:pt x="101" y="5"/>
                        </a:lnTo>
                        <a:lnTo>
                          <a:pt x="101" y="4"/>
                        </a:lnTo>
                        <a:lnTo>
                          <a:pt x="101" y="4"/>
                        </a:lnTo>
                        <a:lnTo>
                          <a:pt x="101" y="4"/>
                        </a:lnTo>
                        <a:lnTo>
                          <a:pt x="101" y="3"/>
                        </a:lnTo>
                        <a:lnTo>
                          <a:pt x="102" y="3"/>
                        </a:lnTo>
                        <a:lnTo>
                          <a:pt x="102" y="3"/>
                        </a:lnTo>
                        <a:lnTo>
                          <a:pt x="102" y="3"/>
                        </a:lnTo>
                        <a:lnTo>
                          <a:pt x="103" y="3"/>
                        </a:lnTo>
                        <a:lnTo>
                          <a:pt x="103" y="3"/>
                        </a:lnTo>
                        <a:lnTo>
                          <a:pt x="104" y="3"/>
                        </a:lnTo>
                        <a:lnTo>
                          <a:pt x="104" y="3"/>
                        </a:lnTo>
                        <a:lnTo>
                          <a:pt x="104" y="3"/>
                        </a:lnTo>
                        <a:lnTo>
                          <a:pt x="104" y="3"/>
                        </a:lnTo>
                        <a:lnTo>
                          <a:pt x="104" y="2"/>
                        </a:lnTo>
                        <a:lnTo>
                          <a:pt x="104" y="2"/>
                        </a:lnTo>
                        <a:lnTo>
                          <a:pt x="104" y="2"/>
                        </a:lnTo>
                        <a:lnTo>
                          <a:pt x="105" y="2"/>
                        </a:lnTo>
                        <a:lnTo>
                          <a:pt x="106" y="2"/>
                        </a:lnTo>
                        <a:lnTo>
                          <a:pt x="107" y="2"/>
                        </a:lnTo>
                        <a:lnTo>
                          <a:pt x="108" y="2"/>
                        </a:lnTo>
                        <a:lnTo>
                          <a:pt x="108" y="2"/>
                        </a:lnTo>
                        <a:lnTo>
                          <a:pt x="108" y="2"/>
                        </a:lnTo>
                        <a:lnTo>
                          <a:pt x="109" y="1"/>
                        </a:lnTo>
                        <a:lnTo>
                          <a:pt x="109" y="1"/>
                        </a:lnTo>
                        <a:lnTo>
                          <a:pt x="109" y="1"/>
                        </a:lnTo>
                        <a:lnTo>
                          <a:pt x="109" y="1"/>
                        </a:lnTo>
                        <a:lnTo>
                          <a:pt x="109" y="0"/>
                        </a:lnTo>
                        <a:lnTo>
                          <a:pt x="109" y="0"/>
                        </a:lnTo>
                        <a:lnTo>
                          <a:pt x="109" y="0"/>
                        </a:lnTo>
                        <a:moveTo>
                          <a:pt x="11" y="85"/>
                        </a:moveTo>
                        <a:lnTo>
                          <a:pt x="11" y="85"/>
                        </a:lnTo>
                        <a:lnTo>
                          <a:pt x="11" y="85"/>
                        </a:lnTo>
                        <a:lnTo>
                          <a:pt x="10" y="85"/>
                        </a:lnTo>
                        <a:lnTo>
                          <a:pt x="10" y="85"/>
                        </a:lnTo>
                        <a:lnTo>
                          <a:pt x="9" y="85"/>
                        </a:lnTo>
                        <a:lnTo>
                          <a:pt x="9" y="86"/>
                        </a:lnTo>
                        <a:lnTo>
                          <a:pt x="9" y="86"/>
                        </a:lnTo>
                        <a:lnTo>
                          <a:pt x="9" y="86"/>
                        </a:lnTo>
                        <a:lnTo>
                          <a:pt x="9" y="86"/>
                        </a:lnTo>
                        <a:lnTo>
                          <a:pt x="9" y="86"/>
                        </a:lnTo>
                        <a:lnTo>
                          <a:pt x="10" y="87"/>
                        </a:lnTo>
                        <a:lnTo>
                          <a:pt x="10" y="86"/>
                        </a:lnTo>
                        <a:lnTo>
                          <a:pt x="10" y="86"/>
                        </a:lnTo>
                        <a:lnTo>
                          <a:pt x="11" y="86"/>
                        </a:lnTo>
                        <a:lnTo>
                          <a:pt x="11" y="86"/>
                        </a:lnTo>
                        <a:lnTo>
                          <a:pt x="11" y="85"/>
                        </a:lnTo>
                        <a:lnTo>
                          <a:pt x="11" y="85"/>
                        </a:lnTo>
                        <a:lnTo>
                          <a:pt x="11" y="85"/>
                        </a:lnTo>
                        <a:lnTo>
                          <a:pt x="11" y="85"/>
                        </a:lnTo>
                        <a:lnTo>
                          <a:pt x="11" y="85"/>
                        </a:lnTo>
                        <a:lnTo>
                          <a:pt x="11" y="85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accent1"/>
                    </a:solidFill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algn="ctr" defTabSz="914308">
                      <a:defRPr/>
                    </a:pPr>
                    <a:endParaRPr lang="en-US" sz="900" kern="0" dirty="0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latin typeface="Times New Roman" pitchFamily="18" charset="0"/>
                      <a:cs typeface="Times New Roman" pitchFamily="18" charset="0"/>
                    </a:endParaRPr>
                  </a:p>
                </p:txBody>
              </p:sp>
              <p:sp>
                <p:nvSpPr>
                  <p:cNvPr id="307" name="Freeform 4"/>
                  <p:cNvSpPr>
                    <a:spLocks/>
                  </p:cNvSpPr>
                  <p:nvPr/>
                </p:nvSpPr>
                <p:spPr bwMode="auto">
                  <a:xfrm>
                    <a:off x="2905476" y="2173725"/>
                    <a:ext cx="1241967" cy="905070"/>
                  </a:xfrm>
                  <a:custGeom>
                    <a:avLst/>
                    <a:gdLst/>
                    <a:ahLst/>
                    <a:cxnLst>
                      <a:cxn ang="0">
                        <a:pos x="81" y="1"/>
                      </a:cxn>
                      <a:cxn ang="0">
                        <a:pos x="88" y="6"/>
                      </a:cxn>
                      <a:cxn ang="0">
                        <a:pos x="92" y="10"/>
                      </a:cxn>
                      <a:cxn ang="0">
                        <a:pos x="93" y="9"/>
                      </a:cxn>
                      <a:cxn ang="0">
                        <a:pos x="113" y="11"/>
                      </a:cxn>
                      <a:cxn ang="0">
                        <a:pos x="118" y="15"/>
                      </a:cxn>
                      <a:cxn ang="0">
                        <a:pos x="123" y="21"/>
                      </a:cxn>
                      <a:cxn ang="0">
                        <a:pos x="128" y="19"/>
                      </a:cxn>
                      <a:cxn ang="0">
                        <a:pos x="136" y="19"/>
                      </a:cxn>
                      <a:cxn ang="0">
                        <a:pos x="143" y="24"/>
                      </a:cxn>
                      <a:cxn ang="0">
                        <a:pos x="152" y="25"/>
                      </a:cxn>
                      <a:cxn ang="0">
                        <a:pos x="157" y="27"/>
                      </a:cxn>
                      <a:cxn ang="0">
                        <a:pos x="163" y="33"/>
                      </a:cxn>
                      <a:cxn ang="0">
                        <a:pos x="165" y="42"/>
                      </a:cxn>
                      <a:cxn ang="0">
                        <a:pos x="163" y="52"/>
                      </a:cxn>
                      <a:cxn ang="0">
                        <a:pos x="162" y="61"/>
                      </a:cxn>
                      <a:cxn ang="0">
                        <a:pos x="160" y="66"/>
                      </a:cxn>
                      <a:cxn ang="0">
                        <a:pos x="159" y="69"/>
                      </a:cxn>
                      <a:cxn ang="0">
                        <a:pos x="162" y="74"/>
                      </a:cxn>
                      <a:cxn ang="0">
                        <a:pos x="153" y="80"/>
                      </a:cxn>
                      <a:cxn ang="0">
                        <a:pos x="142" y="89"/>
                      </a:cxn>
                      <a:cxn ang="0">
                        <a:pos x="137" y="93"/>
                      </a:cxn>
                      <a:cxn ang="0">
                        <a:pos x="132" y="96"/>
                      </a:cxn>
                      <a:cxn ang="0">
                        <a:pos x="129" y="101"/>
                      </a:cxn>
                      <a:cxn ang="0">
                        <a:pos x="122" y="102"/>
                      </a:cxn>
                      <a:cxn ang="0">
                        <a:pos x="118" y="99"/>
                      </a:cxn>
                      <a:cxn ang="0">
                        <a:pos x="116" y="95"/>
                      </a:cxn>
                      <a:cxn ang="0">
                        <a:pos x="109" y="97"/>
                      </a:cxn>
                      <a:cxn ang="0">
                        <a:pos x="104" y="103"/>
                      </a:cxn>
                      <a:cxn ang="0">
                        <a:pos x="100" y="112"/>
                      </a:cxn>
                      <a:cxn ang="0">
                        <a:pos x="87" y="111"/>
                      </a:cxn>
                      <a:cxn ang="0">
                        <a:pos x="78" y="109"/>
                      </a:cxn>
                      <a:cxn ang="0">
                        <a:pos x="75" y="104"/>
                      </a:cxn>
                      <a:cxn ang="0">
                        <a:pos x="71" y="102"/>
                      </a:cxn>
                      <a:cxn ang="0">
                        <a:pos x="64" y="98"/>
                      </a:cxn>
                      <a:cxn ang="0">
                        <a:pos x="58" y="96"/>
                      </a:cxn>
                      <a:cxn ang="0">
                        <a:pos x="52" y="100"/>
                      </a:cxn>
                      <a:cxn ang="0">
                        <a:pos x="46" y="98"/>
                      </a:cxn>
                      <a:cxn ang="0">
                        <a:pos x="33" y="95"/>
                      </a:cxn>
                      <a:cxn ang="0">
                        <a:pos x="24" y="89"/>
                      </a:cxn>
                      <a:cxn ang="0">
                        <a:pos x="16" y="85"/>
                      </a:cxn>
                      <a:cxn ang="0">
                        <a:pos x="11" y="80"/>
                      </a:cxn>
                      <a:cxn ang="0">
                        <a:pos x="3" y="80"/>
                      </a:cxn>
                      <a:cxn ang="0">
                        <a:pos x="1" y="68"/>
                      </a:cxn>
                      <a:cxn ang="0">
                        <a:pos x="5" y="58"/>
                      </a:cxn>
                      <a:cxn ang="0">
                        <a:pos x="13" y="48"/>
                      </a:cxn>
                      <a:cxn ang="0">
                        <a:pos x="19" y="41"/>
                      </a:cxn>
                      <a:cxn ang="0">
                        <a:pos x="27" y="40"/>
                      </a:cxn>
                      <a:cxn ang="0">
                        <a:pos x="35" y="37"/>
                      </a:cxn>
                      <a:cxn ang="0">
                        <a:pos x="44" y="36"/>
                      </a:cxn>
                      <a:cxn ang="0">
                        <a:pos x="56" y="27"/>
                      </a:cxn>
                      <a:cxn ang="0">
                        <a:pos x="59" y="24"/>
                      </a:cxn>
                      <a:cxn ang="0">
                        <a:pos x="58" y="21"/>
                      </a:cxn>
                      <a:cxn ang="0">
                        <a:pos x="55" y="15"/>
                      </a:cxn>
                      <a:cxn ang="0">
                        <a:pos x="55" y="11"/>
                      </a:cxn>
                      <a:cxn ang="0">
                        <a:pos x="58" y="4"/>
                      </a:cxn>
                      <a:cxn ang="0">
                        <a:pos x="67" y="2"/>
                      </a:cxn>
                      <a:cxn ang="0">
                        <a:pos x="75" y="2"/>
                      </a:cxn>
                    </a:cxnLst>
                    <a:rect l="0" t="0" r="r" b="b"/>
                    <a:pathLst>
                      <a:path w="166" h="112">
                        <a:moveTo>
                          <a:pt x="75" y="1"/>
                        </a:moveTo>
                        <a:lnTo>
                          <a:pt x="76" y="0"/>
                        </a:lnTo>
                        <a:lnTo>
                          <a:pt x="77" y="0"/>
                        </a:lnTo>
                        <a:lnTo>
                          <a:pt x="78" y="0"/>
                        </a:lnTo>
                        <a:lnTo>
                          <a:pt x="78" y="0"/>
                        </a:lnTo>
                        <a:lnTo>
                          <a:pt x="79" y="0"/>
                        </a:lnTo>
                        <a:lnTo>
                          <a:pt x="80" y="0"/>
                        </a:lnTo>
                        <a:lnTo>
                          <a:pt x="81" y="1"/>
                        </a:lnTo>
                        <a:lnTo>
                          <a:pt x="82" y="1"/>
                        </a:lnTo>
                        <a:lnTo>
                          <a:pt x="83" y="2"/>
                        </a:lnTo>
                        <a:lnTo>
                          <a:pt x="84" y="2"/>
                        </a:lnTo>
                        <a:lnTo>
                          <a:pt x="85" y="3"/>
                        </a:lnTo>
                        <a:lnTo>
                          <a:pt x="85" y="4"/>
                        </a:lnTo>
                        <a:lnTo>
                          <a:pt x="86" y="5"/>
                        </a:lnTo>
                        <a:lnTo>
                          <a:pt x="87" y="6"/>
                        </a:lnTo>
                        <a:lnTo>
                          <a:pt x="88" y="6"/>
                        </a:lnTo>
                        <a:lnTo>
                          <a:pt x="89" y="7"/>
                        </a:lnTo>
                        <a:lnTo>
                          <a:pt x="90" y="8"/>
                        </a:lnTo>
                        <a:lnTo>
                          <a:pt x="91" y="8"/>
                        </a:lnTo>
                        <a:lnTo>
                          <a:pt x="92" y="9"/>
                        </a:lnTo>
                        <a:lnTo>
                          <a:pt x="92" y="9"/>
                        </a:lnTo>
                        <a:lnTo>
                          <a:pt x="92" y="9"/>
                        </a:lnTo>
                        <a:lnTo>
                          <a:pt x="92" y="10"/>
                        </a:lnTo>
                        <a:lnTo>
                          <a:pt x="92" y="10"/>
                        </a:lnTo>
                        <a:lnTo>
                          <a:pt x="92" y="10"/>
                        </a:lnTo>
                        <a:lnTo>
                          <a:pt x="92" y="10"/>
                        </a:lnTo>
                        <a:lnTo>
                          <a:pt x="93" y="10"/>
                        </a:lnTo>
                        <a:lnTo>
                          <a:pt x="93" y="10"/>
                        </a:lnTo>
                        <a:lnTo>
                          <a:pt x="93" y="10"/>
                        </a:lnTo>
                        <a:lnTo>
                          <a:pt x="93" y="10"/>
                        </a:lnTo>
                        <a:lnTo>
                          <a:pt x="93" y="9"/>
                        </a:lnTo>
                        <a:lnTo>
                          <a:pt x="93" y="9"/>
                        </a:lnTo>
                        <a:lnTo>
                          <a:pt x="95" y="9"/>
                        </a:lnTo>
                        <a:lnTo>
                          <a:pt x="98" y="9"/>
                        </a:lnTo>
                        <a:lnTo>
                          <a:pt x="102" y="10"/>
                        </a:lnTo>
                        <a:lnTo>
                          <a:pt x="104" y="10"/>
                        </a:lnTo>
                        <a:lnTo>
                          <a:pt x="107" y="10"/>
                        </a:lnTo>
                        <a:lnTo>
                          <a:pt x="109" y="10"/>
                        </a:lnTo>
                        <a:lnTo>
                          <a:pt x="111" y="11"/>
                        </a:lnTo>
                        <a:lnTo>
                          <a:pt x="113" y="11"/>
                        </a:lnTo>
                        <a:lnTo>
                          <a:pt x="114" y="11"/>
                        </a:lnTo>
                        <a:lnTo>
                          <a:pt x="114" y="12"/>
                        </a:lnTo>
                        <a:lnTo>
                          <a:pt x="115" y="12"/>
                        </a:lnTo>
                        <a:lnTo>
                          <a:pt x="116" y="13"/>
                        </a:lnTo>
                        <a:lnTo>
                          <a:pt x="117" y="13"/>
                        </a:lnTo>
                        <a:lnTo>
                          <a:pt x="117" y="14"/>
                        </a:lnTo>
                        <a:lnTo>
                          <a:pt x="118" y="14"/>
                        </a:lnTo>
                        <a:lnTo>
                          <a:pt x="118" y="15"/>
                        </a:lnTo>
                        <a:lnTo>
                          <a:pt x="119" y="16"/>
                        </a:lnTo>
                        <a:lnTo>
                          <a:pt x="119" y="16"/>
                        </a:lnTo>
                        <a:lnTo>
                          <a:pt x="119" y="17"/>
                        </a:lnTo>
                        <a:lnTo>
                          <a:pt x="120" y="18"/>
                        </a:lnTo>
                        <a:lnTo>
                          <a:pt x="120" y="19"/>
                        </a:lnTo>
                        <a:lnTo>
                          <a:pt x="120" y="21"/>
                        </a:lnTo>
                        <a:lnTo>
                          <a:pt x="122" y="21"/>
                        </a:lnTo>
                        <a:lnTo>
                          <a:pt x="123" y="21"/>
                        </a:lnTo>
                        <a:lnTo>
                          <a:pt x="125" y="21"/>
                        </a:lnTo>
                        <a:lnTo>
                          <a:pt x="127" y="21"/>
                        </a:lnTo>
                        <a:lnTo>
                          <a:pt x="127" y="21"/>
                        </a:lnTo>
                        <a:lnTo>
                          <a:pt x="127" y="21"/>
                        </a:lnTo>
                        <a:lnTo>
                          <a:pt x="128" y="20"/>
                        </a:lnTo>
                        <a:lnTo>
                          <a:pt x="128" y="20"/>
                        </a:lnTo>
                        <a:lnTo>
                          <a:pt x="128" y="20"/>
                        </a:lnTo>
                        <a:lnTo>
                          <a:pt x="128" y="19"/>
                        </a:lnTo>
                        <a:lnTo>
                          <a:pt x="128" y="19"/>
                        </a:lnTo>
                        <a:lnTo>
                          <a:pt x="128" y="19"/>
                        </a:lnTo>
                        <a:lnTo>
                          <a:pt x="130" y="19"/>
                        </a:lnTo>
                        <a:lnTo>
                          <a:pt x="132" y="19"/>
                        </a:lnTo>
                        <a:lnTo>
                          <a:pt x="133" y="19"/>
                        </a:lnTo>
                        <a:lnTo>
                          <a:pt x="135" y="19"/>
                        </a:lnTo>
                        <a:lnTo>
                          <a:pt x="135" y="19"/>
                        </a:lnTo>
                        <a:lnTo>
                          <a:pt x="136" y="19"/>
                        </a:lnTo>
                        <a:lnTo>
                          <a:pt x="136" y="19"/>
                        </a:lnTo>
                        <a:lnTo>
                          <a:pt x="137" y="19"/>
                        </a:lnTo>
                        <a:lnTo>
                          <a:pt x="138" y="19"/>
                        </a:lnTo>
                        <a:lnTo>
                          <a:pt x="138" y="20"/>
                        </a:lnTo>
                        <a:lnTo>
                          <a:pt x="140" y="21"/>
                        </a:lnTo>
                        <a:lnTo>
                          <a:pt x="141" y="22"/>
                        </a:lnTo>
                        <a:lnTo>
                          <a:pt x="142" y="23"/>
                        </a:lnTo>
                        <a:lnTo>
                          <a:pt x="143" y="24"/>
                        </a:lnTo>
                        <a:lnTo>
                          <a:pt x="144" y="24"/>
                        </a:lnTo>
                        <a:lnTo>
                          <a:pt x="145" y="25"/>
                        </a:lnTo>
                        <a:lnTo>
                          <a:pt x="146" y="25"/>
                        </a:lnTo>
                        <a:lnTo>
                          <a:pt x="147" y="25"/>
                        </a:lnTo>
                        <a:lnTo>
                          <a:pt x="148" y="26"/>
                        </a:lnTo>
                        <a:lnTo>
                          <a:pt x="149" y="26"/>
                        </a:lnTo>
                        <a:lnTo>
                          <a:pt x="150" y="26"/>
                        </a:lnTo>
                        <a:lnTo>
                          <a:pt x="152" y="25"/>
                        </a:lnTo>
                        <a:lnTo>
                          <a:pt x="152" y="25"/>
                        </a:lnTo>
                        <a:lnTo>
                          <a:pt x="152" y="25"/>
                        </a:lnTo>
                        <a:lnTo>
                          <a:pt x="153" y="25"/>
                        </a:lnTo>
                        <a:lnTo>
                          <a:pt x="153" y="25"/>
                        </a:lnTo>
                        <a:lnTo>
                          <a:pt x="154" y="26"/>
                        </a:lnTo>
                        <a:lnTo>
                          <a:pt x="156" y="26"/>
                        </a:lnTo>
                        <a:lnTo>
                          <a:pt x="156" y="26"/>
                        </a:lnTo>
                        <a:lnTo>
                          <a:pt x="157" y="27"/>
                        </a:lnTo>
                        <a:lnTo>
                          <a:pt x="158" y="27"/>
                        </a:lnTo>
                        <a:lnTo>
                          <a:pt x="159" y="28"/>
                        </a:lnTo>
                        <a:lnTo>
                          <a:pt x="159" y="28"/>
                        </a:lnTo>
                        <a:lnTo>
                          <a:pt x="160" y="29"/>
                        </a:lnTo>
                        <a:lnTo>
                          <a:pt x="161" y="30"/>
                        </a:lnTo>
                        <a:lnTo>
                          <a:pt x="161" y="31"/>
                        </a:lnTo>
                        <a:lnTo>
                          <a:pt x="162" y="32"/>
                        </a:lnTo>
                        <a:lnTo>
                          <a:pt x="163" y="33"/>
                        </a:lnTo>
                        <a:lnTo>
                          <a:pt x="163" y="33"/>
                        </a:lnTo>
                        <a:lnTo>
                          <a:pt x="164" y="33"/>
                        </a:lnTo>
                        <a:lnTo>
                          <a:pt x="165" y="34"/>
                        </a:lnTo>
                        <a:lnTo>
                          <a:pt x="165" y="36"/>
                        </a:lnTo>
                        <a:lnTo>
                          <a:pt x="165" y="37"/>
                        </a:lnTo>
                        <a:lnTo>
                          <a:pt x="166" y="39"/>
                        </a:lnTo>
                        <a:lnTo>
                          <a:pt x="165" y="41"/>
                        </a:lnTo>
                        <a:lnTo>
                          <a:pt x="165" y="42"/>
                        </a:lnTo>
                        <a:lnTo>
                          <a:pt x="165" y="44"/>
                        </a:lnTo>
                        <a:lnTo>
                          <a:pt x="165" y="45"/>
                        </a:lnTo>
                        <a:lnTo>
                          <a:pt x="165" y="47"/>
                        </a:lnTo>
                        <a:lnTo>
                          <a:pt x="164" y="48"/>
                        </a:lnTo>
                        <a:lnTo>
                          <a:pt x="164" y="49"/>
                        </a:lnTo>
                        <a:lnTo>
                          <a:pt x="163" y="50"/>
                        </a:lnTo>
                        <a:lnTo>
                          <a:pt x="163" y="51"/>
                        </a:lnTo>
                        <a:lnTo>
                          <a:pt x="163" y="52"/>
                        </a:lnTo>
                        <a:lnTo>
                          <a:pt x="162" y="53"/>
                        </a:lnTo>
                        <a:lnTo>
                          <a:pt x="162" y="54"/>
                        </a:lnTo>
                        <a:lnTo>
                          <a:pt x="162" y="56"/>
                        </a:lnTo>
                        <a:lnTo>
                          <a:pt x="161" y="56"/>
                        </a:lnTo>
                        <a:lnTo>
                          <a:pt x="161" y="57"/>
                        </a:lnTo>
                        <a:lnTo>
                          <a:pt x="161" y="58"/>
                        </a:lnTo>
                        <a:lnTo>
                          <a:pt x="161" y="59"/>
                        </a:lnTo>
                        <a:lnTo>
                          <a:pt x="162" y="61"/>
                        </a:lnTo>
                        <a:lnTo>
                          <a:pt x="162" y="62"/>
                        </a:lnTo>
                        <a:lnTo>
                          <a:pt x="162" y="63"/>
                        </a:lnTo>
                        <a:lnTo>
                          <a:pt x="162" y="63"/>
                        </a:lnTo>
                        <a:lnTo>
                          <a:pt x="161" y="64"/>
                        </a:lnTo>
                        <a:lnTo>
                          <a:pt x="161" y="65"/>
                        </a:lnTo>
                        <a:lnTo>
                          <a:pt x="161" y="65"/>
                        </a:lnTo>
                        <a:lnTo>
                          <a:pt x="161" y="66"/>
                        </a:lnTo>
                        <a:lnTo>
                          <a:pt x="160" y="66"/>
                        </a:lnTo>
                        <a:lnTo>
                          <a:pt x="160" y="67"/>
                        </a:lnTo>
                        <a:lnTo>
                          <a:pt x="159" y="67"/>
                        </a:lnTo>
                        <a:lnTo>
                          <a:pt x="159" y="67"/>
                        </a:lnTo>
                        <a:lnTo>
                          <a:pt x="158" y="67"/>
                        </a:lnTo>
                        <a:lnTo>
                          <a:pt x="159" y="68"/>
                        </a:lnTo>
                        <a:lnTo>
                          <a:pt x="159" y="68"/>
                        </a:lnTo>
                        <a:lnTo>
                          <a:pt x="159" y="69"/>
                        </a:lnTo>
                        <a:lnTo>
                          <a:pt x="159" y="69"/>
                        </a:lnTo>
                        <a:lnTo>
                          <a:pt x="160" y="70"/>
                        </a:lnTo>
                        <a:lnTo>
                          <a:pt x="161" y="70"/>
                        </a:lnTo>
                        <a:lnTo>
                          <a:pt x="161" y="71"/>
                        </a:lnTo>
                        <a:lnTo>
                          <a:pt x="161" y="71"/>
                        </a:lnTo>
                        <a:lnTo>
                          <a:pt x="162" y="72"/>
                        </a:lnTo>
                        <a:lnTo>
                          <a:pt x="162" y="72"/>
                        </a:lnTo>
                        <a:lnTo>
                          <a:pt x="162" y="73"/>
                        </a:lnTo>
                        <a:lnTo>
                          <a:pt x="162" y="74"/>
                        </a:lnTo>
                        <a:lnTo>
                          <a:pt x="162" y="74"/>
                        </a:lnTo>
                        <a:lnTo>
                          <a:pt x="162" y="75"/>
                        </a:lnTo>
                        <a:lnTo>
                          <a:pt x="160" y="76"/>
                        </a:lnTo>
                        <a:lnTo>
                          <a:pt x="159" y="76"/>
                        </a:lnTo>
                        <a:lnTo>
                          <a:pt x="157" y="77"/>
                        </a:lnTo>
                        <a:lnTo>
                          <a:pt x="156" y="78"/>
                        </a:lnTo>
                        <a:lnTo>
                          <a:pt x="154" y="78"/>
                        </a:lnTo>
                        <a:lnTo>
                          <a:pt x="153" y="80"/>
                        </a:lnTo>
                        <a:lnTo>
                          <a:pt x="152" y="80"/>
                        </a:lnTo>
                        <a:lnTo>
                          <a:pt x="151" y="81"/>
                        </a:lnTo>
                        <a:lnTo>
                          <a:pt x="149" y="83"/>
                        </a:lnTo>
                        <a:lnTo>
                          <a:pt x="146" y="85"/>
                        </a:lnTo>
                        <a:lnTo>
                          <a:pt x="145" y="86"/>
                        </a:lnTo>
                        <a:lnTo>
                          <a:pt x="144" y="87"/>
                        </a:lnTo>
                        <a:lnTo>
                          <a:pt x="143" y="88"/>
                        </a:lnTo>
                        <a:lnTo>
                          <a:pt x="142" y="89"/>
                        </a:lnTo>
                        <a:lnTo>
                          <a:pt x="141" y="89"/>
                        </a:lnTo>
                        <a:lnTo>
                          <a:pt x="140" y="89"/>
                        </a:lnTo>
                        <a:lnTo>
                          <a:pt x="140" y="90"/>
                        </a:lnTo>
                        <a:lnTo>
                          <a:pt x="139" y="90"/>
                        </a:lnTo>
                        <a:lnTo>
                          <a:pt x="139" y="91"/>
                        </a:lnTo>
                        <a:lnTo>
                          <a:pt x="138" y="91"/>
                        </a:lnTo>
                        <a:lnTo>
                          <a:pt x="137" y="93"/>
                        </a:lnTo>
                        <a:lnTo>
                          <a:pt x="137" y="93"/>
                        </a:lnTo>
                        <a:lnTo>
                          <a:pt x="136" y="94"/>
                        </a:lnTo>
                        <a:lnTo>
                          <a:pt x="136" y="94"/>
                        </a:lnTo>
                        <a:lnTo>
                          <a:pt x="135" y="95"/>
                        </a:lnTo>
                        <a:lnTo>
                          <a:pt x="134" y="95"/>
                        </a:lnTo>
                        <a:lnTo>
                          <a:pt x="134" y="95"/>
                        </a:lnTo>
                        <a:lnTo>
                          <a:pt x="133" y="95"/>
                        </a:lnTo>
                        <a:lnTo>
                          <a:pt x="132" y="95"/>
                        </a:lnTo>
                        <a:lnTo>
                          <a:pt x="132" y="96"/>
                        </a:lnTo>
                        <a:lnTo>
                          <a:pt x="131" y="97"/>
                        </a:lnTo>
                        <a:lnTo>
                          <a:pt x="131" y="98"/>
                        </a:lnTo>
                        <a:lnTo>
                          <a:pt x="131" y="98"/>
                        </a:lnTo>
                        <a:lnTo>
                          <a:pt x="131" y="99"/>
                        </a:lnTo>
                        <a:lnTo>
                          <a:pt x="130" y="100"/>
                        </a:lnTo>
                        <a:lnTo>
                          <a:pt x="130" y="100"/>
                        </a:lnTo>
                        <a:lnTo>
                          <a:pt x="129" y="101"/>
                        </a:lnTo>
                        <a:lnTo>
                          <a:pt x="129" y="101"/>
                        </a:lnTo>
                        <a:lnTo>
                          <a:pt x="128" y="101"/>
                        </a:lnTo>
                        <a:lnTo>
                          <a:pt x="128" y="102"/>
                        </a:lnTo>
                        <a:lnTo>
                          <a:pt x="127" y="102"/>
                        </a:lnTo>
                        <a:lnTo>
                          <a:pt x="126" y="102"/>
                        </a:lnTo>
                        <a:lnTo>
                          <a:pt x="125" y="102"/>
                        </a:lnTo>
                        <a:lnTo>
                          <a:pt x="124" y="102"/>
                        </a:lnTo>
                        <a:lnTo>
                          <a:pt x="123" y="102"/>
                        </a:lnTo>
                        <a:lnTo>
                          <a:pt x="122" y="102"/>
                        </a:lnTo>
                        <a:lnTo>
                          <a:pt x="122" y="102"/>
                        </a:lnTo>
                        <a:lnTo>
                          <a:pt x="121" y="102"/>
                        </a:lnTo>
                        <a:lnTo>
                          <a:pt x="120" y="102"/>
                        </a:lnTo>
                        <a:lnTo>
                          <a:pt x="120" y="101"/>
                        </a:lnTo>
                        <a:lnTo>
                          <a:pt x="119" y="101"/>
                        </a:lnTo>
                        <a:lnTo>
                          <a:pt x="119" y="100"/>
                        </a:lnTo>
                        <a:lnTo>
                          <a:pt x="119" y="100"/>
                        </a:lnTo>
                        <a:lnTo>
                          <a:pt x="118" y="99"/>
                        </a:lnTo>
                        <a:lnTo>
                          <a:pt x="118" y="99"/>
                        </a:lnTo>
                        <a:lnTo>
                          <a:pt x="118" y="98"/>
                        </a:lnTo>
                        <a:lnTo>
                          <a:pt x="118" y="97"/>
                        </a:lnTo>
                        <a:lnTo>
                          <a:pt x="118" y="95"/>
                        </a:lnTo>
                        <a:lnTo>
                          <a:pt x="118" y="94"/>
                        </a:lnTo>
                        <a:lnTo>
                          <a:pt x="118" y="94"/>
                        </a:lnTo>
                        <a:lnTo>
                          <a:pt x="117" y="94"/>
                        </a:lnTo>
                        <a:lnTo>
                          <a:pt x="116" y="95"/>
                        </a:lnTo>
                        <a:lnTo>
                          <a:pt x="115" y="95"/>
                        </a:lnTo>
                        <a:lnTo>
                          <a:pt x="114" y="96"/>
                        </a:lnTo>
                        <a:lnTo>
                          <a:pt x="113" y="97"/>
                        </a:lnTo>
                        <a:lnTo>
                          <a:pt x="112" y="97"/>
                        </a:lnTo>
                        <a:lnTo>
                          <a:pt x="112" y="97"/>
                        </a:lnTo>
                        <a:lnTo>
                          <a:pt x="111" y="97"/>
                        </a:lnTo>
                        <a:lnTo>
                          <a:pt x="110" y="97"/>
                        </a:lnTo>
                        <a:lnTo>
                          <a:pt x="109" y="97"/>
                        </a:lnTo>
                        <a:lnTo>
                          <a:pt x="108" y="97"/>
                        </a:lnTo>
                        <a:lnTo>
                          <a:pt x="107" y="98"/>
                        </a:lnTo>
                        <a:lnTo>
                          <a:pt x="107" y="98"/>
                        </a:lnTo>
                        <a:lnTo>
                          <a:pt x="106" y="99"/>
                        </a:lnTo>
                        <a:lnTo>
                          <a:pt x="105" y="100"/>
                        </a:lnTo>
                        <a:lnTo>
                          <a:pt x="105" y="101"/>
                        </a:lnTo>
                        <a:lnTo>
                          <a:pt x="105" y="102"/>
                        </a:lnTo>
                        <a:lnTo>
                          <a:pt x="104" y="103"/>
                        </a:lnTo>
                        <a:lnTo>
                          <a:pt x="104" y="104"/>
                        </a:lnTo>
                        <a:lnTo>
                          <a:pt x="103" y="106"/>
                        </a:lnTo>
                        <a:lnTo>
                          <a:pt x="103" y="107"/>
                        </a:lnTo>
                        <a:lnTo>
                          <a:pt x="102" y="109"/>
                        </a:lnTo>
                        <a:lnTo>
                          <a:pt x="102" y="109"/>
                        </a:lnTo>
                        <a:lnTo>
                          <a:pt x="101" y="110"/>
                        </a:lnTo>
                        <a:lnTo>
                          <a:pt x="101" y="111"/>
                        </a:lnTo>
                        <a:lnTo>
                          <a:pt x="100" y="112"/>
                        </a:lnTo>
                        <a:lnTo>
                          <a:pt x="98" y="112"/>
                        </a:lnTo>
                        <a:lnTo>
                          <a:pt x="97" y="112"/>
                        </a:lnTo>
                        <a:lnTo>
                          <a:pt x="95" y="112"/>
                        </a:lnTo>
                        <a:lnTo>
                          <a:pt x="94" y="112"/>
                        </a:lnTo>
                        <a:lnTo>
                          <a:pt x="93" y="112"/>
                        </a:lnTo>
                        <a:lnTo>
                          <a:pt x="91" y="112"/>
                        </a:lnTo>
                        <a:lnTo>
                          <a:pt x="89" y="111"/>
                        </a:lnTo>
                        <a:lnTo>
                          <a:pt x="87" y="111"/>
                        </a:lnTo>
                        <a:lnTo>
                          <a:pt x="85" y="111"/>
                        </a:lnTo>
                        <a:lnTo>
                          <a:pt x="84" y="110"/>
                        </a:lnTo>
                        <a:lnTo>
                          <a:pt x="83" y="110"/>
                        </a:lnTo>
                        <a:lnTo>
                          <a:pt x="81" y="110"/>
                        </a:lnTo>
                        <a:lnTo>
                          <a:pt x="80" y="110"/>
                        </a:lnTo>
                        <a:lnTo>
                          <a:pt x="78" y="110"/>
                        </a:lnTo>
                        <a:lnTo>
                          <a:pt x="78" y="110"/>
                        </a:lnTo>
                        <a:lnTo>
                          <a:pt x="78" y="109"/>
                        </a:lnTo>
                        <a:lnTo>
                          <a:pt x="78" y="108"/>
                        </a:lnTo>
                        <a:lnTo>
                          <a:pt x="77" y="107"/>
                        </a:lnTo>
                        <a:lnTo>
                          <a:pt x="76" y="107"/>
                        </a:lnTo>
                        <a:lnTo>
                          <a:pt x="76" y="106"/>
                        </a:lnTo>
                        <a:lnTo>
                          <a:pt x="75" y="105"/>
                        </a:lnTo>
                        <a:lnTo>
                          <a:pt x="75" y="105"/>
                        </a:lnTo>
                        <a:lnTo>
                          <a:pt x="75" y="104"/>
                        </a:lnTo>
                        <a:lnTo>
                          <a:pt x="75" y="104"/>
                        </a:lnTo>
                        <a:lnTo>
                          <a:pt x="75" y="103"/>
                        </a:lnTo>
                        <a:lnTo>
                          <a:pt x="75" y="102"/>
                        </a:lnTo>
                        <a:lnTo>
                          <a:pt x="74" y="102"/>
                        </a:lnTo>
                        <a:lnTo>
                          <a:pt x="73" y="102"/>
                        </a:lnTo>
                        <a:lnTo>
                          <a:pt x="73" y="102"/>
                        </a:lnTo>
                        <a:lnTo>
                          <a:pt x="72" y="102"/>
                        </a:lnTo>
                        <a:lnTo>
                          <a:pt x="71" y="103"/>
                        </a:lnTo>
                        <a:lnTo>
                          <a:pt x="71" y="102"/>
                        </a:lnTo>
                        <a:lnTo>
                          <a:pt x="70" y="102"/>
                        </a:lnTo>
                        <a:lnTo>
                          <a:pt x="69" y="102"/>
                        </a:lnTo>
                        <a:lnTo>
                          <a:pt x="68" y="102"/>
                        </a:lnTo>
                        <a:lnTo>
                          <a:pt x="67" y="101"/>
                        </a:lnTo>
                        <a:lnTo>
                          <a:pt x="67" y="101"/>
                        </a:lnTo>
                        <a:lnTo>
                          <a:pt x="66" y="100"/>
                        </a:lnTo>
                        <a:lnTo>
                          <a:pt x="65" y="99"/>
                        </a:lnTo>
                        <a:lnTo>
                          <a:pt x="64" y="98"/>
                        </a:lnTo>
                        <a:lnTo>
                          <a:pt x="64" y="97"/>
                        </a:lnTo>
                        <a:lnTo>
                          <a:pt x="63" y="96"/>
                        </a:lnTo>
                        <a:lnTo>
                          <a:pt x="62" y="96"/>
                        </a:lnTo>
                        <a:lnTo>
                          <a:pt x="62" y="95"/>
                        </a:lnTo>
                        <a:lnTo>
                          <a:pt x="61" y="95"/>
                        </a:lnTo>
                        <a:lnTo>
                          <a:pt x="60" y="96"/>
                        </a:lnTo>
                        <a:lnTo>
                          <a:pt x="59" y="96"/>
                        </a:lnTo>
                        <a:lnTo>
                          <a:pt x="58" y="96"/>
                        </a:lnTo>
                        <a:lnTo>
                          <a:pt x="58" y="97"/>
                        </a:lnTo>
                        <a:lnTo>
                          <a:pt x="57" y="97"/>
                        </a:lnTo>
                        <a:lnTo>
                          <a:pt x="56" y="98"/>
                        </a:lnTo>
                        <a:lnTo>
                          <a:pt x="55" y="99"/>
                        </a:lnTo>
                        <a:lnTo>
                          <a:pt x="54" y="99"/>
                        </a:lnTo>
                        <a:lnTo>
                          <a:pt x="53" y="100"/>
                        </a:lnTo>
                        <a:lnTo>
                          <a:pt x="53" y="100"/>
                        </a:lnTo>
                        <a:lnTo>
                          <a:pt x="52" y="100"/>
                        </a:lnTo>
                        <a:lnTo>
                          <a:pt x="51" y="100"/>
                        </a:lnTo>
                        <a:lnTo>
                          <a:pt x="50" y="100"/>
                        </a:lnTo>
                        <a:lnTo>
                          <a:pt x="49" y="100"/>
                        </a:lnTo>
                        <a:lnTo>
                          <a:pt x="49" y="99"/>
                        </a:lnTo>
                        <a:lnTo>
                          <a:pt x="48" y="99"/>
                        </a:lnTo>
                        <a:lnTo>
                          <a:pt x="47" y="98"/>
                        </a:lnTo>
                        <a:lnTo>
                          <a:pt x="47" y="98"/>
                        </a:lnTo>
                        <a:lnTo>
                          <a:pt x="46" y="98"/>
                        </a:lnTo>
                        <a:lnTo>
                          <a:pt x="45" y="97"/>
                        </a:lnTo>
                        <a:lnTo>
                          <a:pt x="44" y="97"/>
                        </a:lnTo>
                        <a:lnTo>
                          <a:pt x="43" y="97"/>
                        </a:lnTo>
                        <a:lnTo>
                          <a:pt x="42" y="97"/>
                        </a:lnTo>
                        <a:lnTo>
                          <a:pt x="40" y="97"/>
                        </a:lnTo>
                        <a:lnTo>
                          <a:pt x="37" y="97"/>
                        </a:lnTo>
                        <a:lnTo>
                          <a:pt x="35" y="97"/>
                        </a:lnTo>
                        <a:lnTo>
                          <a:pt x="33" y="95"/>
                        </a:lnTo>
                        <a:lnTo>
                          <a:pt x="31" y="93"/>
                        </a:lnTo>
                        <a:lnTo>
                          <a:pt x="30" y="92"/>
                        </a:lnTo>
                        <a:lnTo>
                          <a:pt x="30" y="91"/>
                        </a:lnTo>
                        <a:lnTo>
                          <a:pt x="29" y="90"/>
                        </a:lnTo>
                        <a:lnTo>
                          <a:pt x="28" y="89"/>
                        </a:lnTo>
                        <a:lnTo>
                          <a:pt x="27" y="89"/>
                        </a:lnTo>
                        <a:lnTo>
                          <a:pt x="25" y="89"/>
                        </a:lnTo>
                        <a:lnTo>
                          <a:pt x="24" y="89"/>
                        </a:lnTo>
                        <a:lnTo>
                          <a:pt x="22" y="89"/>
                        </a:lnTo>
                        <a:lnTo>
                          <a:pt x="21" y="89"/>
                        </a:lnTo>
                        <a:lnTo>
                          <a:pt x="20" y="88"/>
                        </a:lnTo>
                        <a:lnTo>
                          <a:pt x="19" y="88"/>
                        </a:lnTo>
                        <a:lnTo>
                          <a:pt x="18" y="87"/>
                        </a:lnTo>
                        <a:lnTo>
                          <a:pt x="17" y="87"/>
                        </a:lnTo>
                        <a:lnTo>
                          <a:pt x="16" y="86"/>
                        </a:lnTo>
                        <a:lnTo>
                          <a:pt x="16" y="85"/>
                        </a:lnTo>
                        <a:lnTo>
                          <a:pt x="15" y="84"/>
                        </a:lnTo>
                        <a:lnTo>
                          <a:pt x="15" y="83"/>
                        </a:lnTo>
                        <a:lnTo>
                          <a:pt x="14" y="83"/>
                        </a:lnTo>
                        <a:lnTo>
                          <a:pt x="14" y="82"/>
                        </a:lnTo>
                        <a:lnTo>
                          <a:pt x="13" y="80"/>
                        </a:lnTo>
                        <a:lnTo>
                          <a:pt x="13" y="80"/>
                        </a:lnTo>
                        <a:lnTo>
                          <a:pt x="12" y="80"/>
                        </a:lnTo>
                        <a:lnTo>
                          <a:pt x="11" y="80"/>
                        </a:lnTo>
                        <a:lnTo>
                          <a:pt x="10" y="80"/>
                        </a:lnTo>
                        <a:lnTo>
                          <a:pt x="8" y="81"/>
                        </a:lnTo>
                        <a:lnTo>
                          <a:pt x="7" y="81"/>
                        </a:lnTo>
                        <a:lnTo>
                          <a:pt x="6" y="81"/>
                        </a:lnTo>
                        <a:lnTo>
                          <a:pt x="5" y="81"/>
                        </a:lnTo>
                        <a:lnTo>
                          <a:pt x="4" y="81"/>
                        </a:lnTo>
                        <a:lnTo>
                          <a:pt x="3" y="81"/>
                        </a:lnTo>
                        <a:lnTo>
                          <a:pt x="3" y="80"/>
                        </a:lnTo>
                        <a:lnTo>
                          <a:pt x="2" y="80"/>
                        </a:lnTo>
                        <a:lnTo>
                          <a:pt x="2" y="79"/>
                        </a:lnTo>
                        <a:lnTo>
                          <a:pt x="2" y="79"/>
                        </a:lnTo>
                        <a:lnTo>
                          <a:pt x="2" y="76"/>
                        </a:lnTo>
                        <a:lnTo>
                          <a:pt x="2" y="74"/>
                        </a:lnTo>
                        <a:lnTo>
                          <a:pt x="2" y="72"/>
                        </a:lnTo>
                        <a:lnTo>
                          <a:pt x="2" y="70"/>
                        </a:lnTo>
                        <a:lnTo>
                          <a:pt x="1" y="68"/>
                        </a:lnTo>
                        <a:lnTo>
                          <a:pt x="1" y="65"/>
                        </a:lnTo>
                        <a:lnTo>
                          <a:pt x="1" y="65"/>
                        </a:lnTo>
                        <a:lnTo>
                          <a:pt x="1" y="64"/>
                        </a:lnTo>
                        <a:lnTo>
                          <a:pt x="0" y="63"/>
                        </a:lnTo>
                        <a:lnTo>
                          <a:pt x="0" y="62"/>
                        </a:lnTo>
                        <a:lnTo>
                          <a:pt x="3" y="60"/>
                        </a:lnTo>
                        <a:lnTo>
                          <a:pt x="4" y="59"/>
                        </a:lnTo>
                        <a:lnTo>
                          <a:pt x="5" y="58"/>
                        </a:lnTo>
                        <a:lnTo>
                          <a:pt x="6" y="57"/>
                        </a:lnTo>
                        <a:lnTo>
                          <a:pt x="7" y="56"/>
                        </a:lnTo>
                        <a:lnTo>
                          <a:pt x="8" y="54"/>
                        </a:lnTo>
                        <a:lnTo>
                          <a:pt x="9" y="53"/>
                        </a:lnTo>
                        <a:lnTo>
                          <a:pt x="10" y="52"/>
                        </a:lnTo>
                        <a:lnTo>
                          <a:pt x="11" y="51"/>
                        </a:lnTo>
                        <a:lnTo>
                          <a:pt x="12" y="49"/>
                        </a:lnTo>
                        <a:lnTo>
                          <a:pt x="13" y="48"/>
                        </a:lnTo>
                        <a:lnTo>
                          <a:pt x="14" y="46"/>
                        </a:lnTo>
                        <a:lnTo>
                          <a:pt x="14" y="44"/>
                        </a:lnTo>
                        <a:lnTo>
                          <a:pt x="15" y="42"/>
                        </a:lnTo>
                        <a:lnTo>
                          <a:pt x="15" y="40"/>
                        </a:lnTo>
                        <a:lnTo>
                          <a:pt x="16" y="41"/>
                        </a:lnTo>
                        <a:lnTo>
                          <a:pt x="17" y="41"/>
                        </a:lnTo>
                        <a:lnTo>
                          <a:pt x="18" y="41"/>
                        </a:lnTo>
                        <a:lnTo>
                          <a:pt x="19" y="41"/>
                        </a:lnTo>
                        <a:lnTo>
                          <a:pt x="19" y="41"/>
                        </a:lnTo>
                        <a:lnTo>
                          <a:pt x="20" y="41"/>
                        </a:lnTo>
                        <a:lnTo>
                          <a:pt x="22" y="41"/>
                        </a:lnTo>
                        <a:lnTo>
                          <a:pt x="23" y="41"/>
                        </a:lnTo>
                        <a:lnTo>
                          <a:pt x="24" y="41"/>
                        </a:lnTo>
                        <a:lnTo>
                          <a:pt x="25" y="41"/>
                        </a:lnTo>
                        <a:lnTo>
                          <a:pt x="26" y="41"/>
                        </a:lnTo>
                        <a:lnTo>
                          <a:pt x="27" y="40"/>
                        </a:lnTo>
                        <a:lnTo>
                          <a:pt x="28" y="40"/>
                        </a:lnTo>
                        <a:lnTo>
                          <a:pt x="29" y="40"/>
                        </a:lnTo>
                        <a:lnTo>
                          <a:pt x="30" y="39"/>
                        </a:lnTo>
                        <a:lnTo>
                          <a:pt x="31" y="39"/>
                        </a:lnTo>
                        <a:lnTo>
                          <a:pt x="32" y="38"/>
                        </a:lnTo>
                        <a:lnTo>
                          <a:pt x="34" y="38"/>
                        </a:lnTo>
                        <a:lnTo>
                          <a:pt x="34" y="37"/>
                        </a:lnTo>
                        <a:lnTo>
                          <a:pt x="35" y="37"/>
                        </a:lnTo>
                        <a:lnTo>
                          <a:pt x="35" y="37"/>
                        </a:lnTo>
                        <a:lnTo>
                          <a:pt x="36" y="37"/>
                        </a:lnTo>
                        <a:lnTo>
                          <a:pt x="36" y="37"/>
                        </a:lnTo>
                        <a:lnTo>
                          <a:pt x="37" y="37"/>
                        </a:lnTo>
                        <a:lnTo>
                          <a:pt x="39" y="37"/>
                        </a:lnTo>
                        <a:lnTo>
                          <a:pt x="40" y="36"/>
                        </a:lnTo>
                        <a:lnTo>
                          <a:pt x="42" y="36"/>
                        </a:lnTo>
                        <a:lnTo>
                          <a:pt x="44" y="36"/>
                        </a:lnTo>
                        <a:lnTo>
                          <a:pt x="45" y="35"/>
                        </a:lnTo>
                        <a:lnTo>
                          <a:pt x="46" y="34"/>
                        </a:lnTo>
                        <a:lnTo>
                          <a:pt x="48" y="34"/>
                        </a:lnTo>
                        <a:lnTo>
                          <a:pt x="49" y="33"/>
                        </a:lnTo>
                        <a:lnTo>
                          <a:pt x="50" y="32"/>
                        </a:lnTo>
                        <a:lnTo>
                          <a:pt x="52" y="31"/>
                        </a:lnTo>
                        <a:lnTo>
                          <a:pt x="54" y="29"/>
                        </a:lnTo>
                        <a:lnTo>
                          <a:pt x="56" y="27"/>
                        </a:lnTo>
                        <a:lnTo>
                          <a:pt x="58" y="25"/>
                        </a:lnTo>
                        <a:lnTo>
                          <a:pt x="59" y="25"/>
                        </a:lnTo>
                        <a:lnTo>
                          <a:pt x="59" y="25"/>
                        </a:lnTo>
                        <a:lnTo>
                          <a:pt x="59" y="25"/>
                        </a:lnTo>
                        <a:lnTo>
                          <a:pt x="59" y="25"/>
                        </a:lnTo>
                        <a:lnTo>
                          <a:pt x="59" y="25"/>
                        </a:lnTo>
                        <a:lnTo>
                          <a:pt x="59" y="25"/>
                        </a:lnTo>
                        <a:lnTo>
                          <a:pt x="59" y="24"/>
                        </a:lnTo>
                        <a:lnTo>
                          <a:pt x="59" y="24"/>
                        </a:lnTo>
                        <a:lnTo>
                          <a:pt x="59" y="24"/>
                        </a:lnTo>
                        <a:lnTo>
                          <a:pt x="59" y="24"/>
                        </a:lnTo>
                        <a:lnTo>
                          <a:pt x="58" y="24"/>
                        </a:lnTo>
                        <a:lnTo>
                          <a:pt x="58" y="23"/>
                        </a:lnTo>
                        <a:lnTo>
                          <a:pt x="58" y="22"/>
                        </a:lnTo>
                        <a:lnTo>
                          <a:pt x="58" y="22"/>
                        </a:lnTo>
                        <a:lnTo>
                          <a:pt x="58" y="21"/>
                        </a:lnTo>
                        <a:lnTo>
                          <a:pt x="57" y="20"/>
                        </a:lnTo>
                        <a:lnTo>
                          <a:pt x="57" y="20"/>
                        </a:lnTo>
                        <a:lnTo>
                          <a:pt x="56" y="19"/>
                        </a:lnTo>
                        <a:lnTo>
                          <a:pt x="56" y="18"/>
                        </a:lnTo>
                        <a:lnTo>
                          <a:pt x="55" y="18"/>
                        </a:lnTo>
                        <a:lnTo>
                          <a:pt x="55" y="17"/>
                        </a:lnTo>
                        <a:lnTo>
                          <a:pt x="55" y="16"/>
                        </a:lnTo>
                        <a:lnTo>
                          <a:pt x="55" y="15"/>
                        </a:lnTo>
                        <a:lnTo>
                          <a:pt x="55" y="14"/>
                        </a:lnTo>
                        <a:lnTo>
                          <a:pt x="55" y="13"/>
                        </a:lnTo>
                        <a:lnTo>
                          <a:pt x="55" y="13"/>
                        </a:lnTo>
                        <a:lnTo>
                          <a:pt x="55" y="12"/>
                        </a:lnTo>
                        <a:lnTo>
                          <a:pt x="55" y="12"/>
                        </a:lnTo>
                        <a:lnTo>
                          <a:pt x="55" y="11"/>
                        </a:lnTo>
                        <a:lnTo>
                          <a:pt x="55" y="11"/>
                        </a:lnTo>
                        <a:lnTo>
                          <a:pt x="55" y="11"/>
                        </a:lnTo>
                        <a:lnTo>
                          <a:pt x="55" y="10"/>
                        </a:lnTo>
                        <a:lnTo>
                          <a:pt x="55" y="9"/>
                        </a:lnTo>
                        <a:lnTo>
                          <a:pt x="55" y="8"/>
                        </a:lnTo>
                        <a:lnTo>
                          <a:pt x="55" y="7"/>
                        </a:lnTo>
                        <a:lnTo>
                          <a:pt x="56" y="6"/>
                        </a:lnTo>
                        <a:lnTo>
                          <a:pt x="56" y="6"/>
                        </a:lnTo>
                        <a:lnTo>
                          <a:pt x="57" y="5"/>
                        </a:lnTo>
                        <a:lnTo>
                          <a:pt x="58" y="4"/>
                        </a:lnTo>
                        <a:lnTo>
                          <a:pt x="59" y="4"/>
                        </a:lnTo>
                        <a:lnTo>
                          <a:pt x="60" y="3"/>
                        </a:lnTo>
                        <a:lnTo>
                          <a:pt x="61" y="3"/>
                        </a:lnTo>
                        <a:lnTo>
                          <a:pt x="62" y="3"/>
                        </a:lnTo>
                        <a:lnTo>
                          <a:pt x="63" y="2"/>
                        </a:lnTo>
                        <a:lnTo>
                          <a:pt x="65" y="2"/>
                        </a:lnTo>
                        <a:lnTo>
                          <a:pt x="66" y="2"/>
                        </a:lnTo>
                        <a:lnTo>
                          <a:pt x="67" y="2"/>
                        </a:lnTo>
                        <a:lnTo>
                          <a:pt x="69" y="2"/>
                        </a:lnTo>
                        <a:lnTo>
                          <a:pt x="70" y="2"/>
                        </a:lnTo>
                        <a:lnTo>
                          <a:pt x="72" y="2"/>
                        </a:lnTo>
                        <a:lnTo>
                          <a:pt x="73" y="2"/>
                        </a:lnTo>
                        <a:lnTo>
                          <a:pt x="74" y="2"/>
                        </a:lnTo>
                        <a:lnTo>
                          <a:pt x="74" y="2"/>
                        </a:lnTo>
                        <a:lnTo>
                          <a:pt x="74" y="2"/>
                        </a:lnTo>
                        <a:lnTo>
                          <a:pt x="75" y="2"/>
                        </a:lnTo>
                        <a:lnTo>
                          <a:pt x="75" y="2"/>
                        </a:lnTo>
                        <a:lnTo>
                          <a:pt x="75" y="1"/>
                        </a:lnTo>
                        <a:lnTo>
                          <a:pt x="75" y="1"/>
                        </a:lnTo>
                        <a:lnTo>
                          <a:pt x="75" y="1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accent1"/>
                    </a:solidFill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algn="ctr" defTabSz="914308">
                      <a:defRPr/>
                    </a:pPr>
                    <a:endParaRPr lang="en-US" sz="900" kern="0" dirty="0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latin typeface="Times New Roman" pitchFamily="18" charset="0"/>
                      <a:cs typeface="Times New Roman" pitchFamily="18" charset="0"/>
                    </a:endParaRPr>
                  </a:p>
                </p:txBody>
              </p:sp>
              <p:sp>
                <p:nvSpPr>
                  <p:cNvPr id="308" name="Freeform 5"/>
                  <p:cNvSpPr>
                    <a:spLocks/>
                  </p:cNvSpPr>
                  <p:nvPr/>
                </p:nvSpPr>
                <p:spPr bwMode="auto">
                  <a:xfrm>
                    <a:off x="27932" y="2473494"/>
                    <a:ext cx="1255843" cy="778473"/>
                  </a:xfrm>
                  <a:custGeom>
                    <a:avLst/>
                    <a:gdLst/>
                    <a:ahLst/>
                    <a:cxnLst>
                      <a:cxn ang="0">
                        <a:pos x="110" y="1"/>
                      </a:cxn>
                      <a:cxn ang="0">
                        <a:pos x="111" y="5"/>
                      </a:cxn>
                      <a:cxn ang="0">
                        <a:pos x="113" y="8"/>
                      </a:cxn>
                      <a:cxn ang="0">
                        <a:pos x="122" y="9"/>
                      </a:cxn>
                      <a:cxn ang="0">
                        <a:pos x="126" y="5"/>
                      </a:cxn>
                      <a:cxn ang="0">
                        <a:pos x="131" y="4"/>
                      </a:cxn>
                      <a:cxn ang="0">
                        <a:pos x="133" y="9"/>
                      </a:cxn>
                      <a:cxn ang="0">
                        <a:pos x="135" y="12"/>
                      </a:cxn>
                      <a:cxn ang="0">
                        <a:pos x="139" y="13"/>
                      </a:cxn>
                      <a:cxn ang="0">
                        <a:pos x="148" y="15"/>
                      </a:cxn>
                      <a:cxn ang="0">
                        <a:pos x="153" y="19"/>
                      </a:cxn>
                      <a:cxn ang="0">
                        <a:pos x="157" y="25"/>
                      </a:cxn>
                      <a:cxn ang="0">
                        <a:pos x="162" y="31"/>
                      </a:cxn>
                      <a:cxn ang="0">
                        <a:pos x="166" y="38"/>
                      </a:cxn>
                      <a:cxn ang="0">
                        <a:pos x="164" y="43"/>
                      </a:cxn>
                      <a:cxn ang="0">
                        <a:pos x="166" y="46"/>
                      </a:cxn>
                      <a:cxn ang="0">
                        <a:pos x="168" y="49"/>
                      </a:cxn>
                      <a:cxn ang="0">
                        <a:pos x="168" y="55"/>
                      </a:cxn>
                      <a:cxn ang="0">
                        <a:pos x="162" y="71"/>
                      </a:cxn>
                      <a:cxn ang="0">
                        <a:pos x="145" y="79"/>
                      </a:cxn>
                      <a:cxn ang="0">
                        <a:pos x="138" y="83"/>
                      </a:cxn>
                      <a:cxn ang="0">
                        <a:pos x="128" y="86"/>
                      </a:cxn>
                      <a:cxn ang="0">
                        <a:pos x="121" y="95"/>
                      </a:cxn>
                      <a:cxn ang="0">
                        <a:pos x="111" y="90"/>
                      </a:cxn>
                      <a:cxn ang="0">
                        <a:pos x="105" y="85"/>
                      </a:cxn>
                      <a:cxn ang="0">
                        <a:pos x="90" y="87"/>
                      </a:cxn>
                      <a:cxn ang="0">
                        <a:pos x="72" y="91"/>
                      </a:cxn>
                      <a:cxn ang="0">
                        <a:pos x="61" y="97"/>
                      </a:cxn>
                      <a:cxn ang="0">
                        <a:pos x="43" y="91"/>
                      </a:cxn>
                      <a:cxn ang="0">
                        <a:pos x="26" y="88"/>
                      </a:cxn>
                      <a:cxn ang="0">
                        <a:pos x="18" y="87"/>
                      </a:cxn>
                      <a:cxn ang="0">
                        <a:pos x="5" y="79"/>
                      </a:cxn>
                      <a:cxn ang="0">
                        <a:pos x="0" y="74"/>
                      </a:cxn>
                      <a:cxn ang="0">
                        <a:pos x="3" y="69"/>
                      </a:cxn>
                      <a:cxn ang="0">
                        <a:pos x="6" y="65"/>
                      </a:cxn>
                      <a:cxn ang="0">
                        <a:pos x="11" y="62"/>
                      </a:cxn>
                      <a:cxn ang="0">
                        <a:pos x="16" y="57"/>
                      </a:cxn>
                      <a:cxn ang="0">
                        <a:pos x="14" y="50"/>
                      </a:cxn>
                      <a:cxn ang="0">
                        <a:pos x="14" y="46"/>
                      </a:cxn>
                      <a:cxn ang="0">
                        <a:pos x="16" y="42"/>
                      </a:cxn>
                      <a:cxn ang="0">
                        <a:pos x="17" y="37"/>
                      </a:cxn>
                      <a:cxn ang="0">
                        <a:pos x="23" y="35"/>
                      </a:cxn>
                      <a:cxn ang="0">
                        <a:pos x="28" y="32"/>
                      </a:cxn>
                      <a:cxn ang="0">
                        <a:pos x="30" y="24"/>
                      </a:cxn>
                      <a:cxn ang="0">
                        <a:pos x="36" y="27"/>
                      </a:cxn>
                      <a:cxn ang="0">
                        <a:pos x="38" y="31"/>
                      </a:cxn>
                      <a:cxn ang="0">
                        <a:pos x="39" y="39"/>
                      </a:cxn>
                      <a:cxn ang="0">
                        <a:pos x="41" y="43"/>
                      </a:cxn>
                      <a:cxn ang="0">
                        <a:pos x="50" y="45"/>
                      </a:cxn>
                      <a:cxn ang="0">
                        <a:pos x="57" y="44"/>
                      </a:cxn>
                      <a:cxn ang="0">
                        <a:pos x="59" y="44"/>
                      </a:cxn>
                      <a:cxn ang="0">
                        <a:pos x="58" y="40"/>
                      </a:cxn>
                      <a:cxn ang="0">
                        <a:pos x="59" y="37"/>
                      </a:cxn>
                      <a:cxn ang="0">
                        <a:pos x="57" y="34"/>
                      </a:cxn>
                      <a:cxn ang="0">
                        <a:pos x="61" y="23"/>
                      </a:cxn>
                      <a:cxn ang="0">
                        <a:pos x="69" y="20"/>
                      </a:cxn>
                      <a:cxn ang="0">
                        <a:pos x="74" y="19"/>
                      </a:cxn>
                      <a:cxn ang="0">
                        <a:pos x="77" y="12"/>
                      </a:cxn>
                      <a:cxn ang="0">
                        <a:pos x="82" y="13"/>
                      </a:cxn>
                      <a:cxn ang="0">
                        <a:pos x="86" y="10"/>
                      </a:cxn>
                      <a:cxn ang="0">
                        <a:pos x="94" y="8"/>
                      </a:cxn>
                      <a:cxn ang="0">
                        <a:pos x="101" y="2"/>
                      </a:cxn>
                    </a:cxnLst>
                    <a:rect l="0" t="0" r="r" b="b"/>
                    <a:pathLst>
                      <a:path w="168" h="97">
                        <a:moveTo>
                          <a:pt x="101" y="2"/>
                        </a:moveTo>
                        <a:lnTo>
                          <a:pt x="102" y="2"/>
                        </a:lnTo>
                        <a:lnTo>
                          <a:pt x="102" y="2"/>
                        </a:lnTo>
                        <a:lnTo>
                          <a:pt x="103" y="2"/>
                        </a:lnTo>
                        <a:lnTo>
                          <a:pt x="103" y="1"/>
                        </a:lnTo>
                        <a:lnTo>
                          <a:pt x="104" y="1"/>
                        </a:lnTo>
                        <a:lnTo>
                          <a:pt x="104" y="0"/>
                        </a:lnTo>
                        <a:lnTo>
                          <a:pt x="104" y="0"/>
                        </a:lnTo>
                        <a:lnTo>
                          <a:pt x="109" y="0"/>
                        </a:lnTo>
                        <a:lnTo>
                          <a:pt x="109" y="1"/>
                        </a:lnTo>
                        <a:lnTo>
                          <a:pt x="109" y="1"/>
                        </a:lnTo>
                        <a:lnTo>
                          <a:pt x="110" y="1"/>
                        </a:lnTo>
                        <a:lnTo>
                          <a:pt x="110" y="2"/>
                        </a:lnTo>
                        <a:lnTo>
                          <a:pt x="110" y="2"/>
                        </a:lnTo>
                        <a:lnTo>
                          <a:pt x="110" y="2"/>
                        </a:lnTo>
                        <a:lnTo>
                          <a:pt x="111" y="2"/>
                        </a:lnTo>
                        <a:lnTo>
                          <a:pt x="111" y="2"/>
                        </a:lnTo>
                        <a:lnTo>
                          <a:pt x="111" y="2"/>
                        </a:lnTo>
                        <a:lnTo>
                          <a:pt x="111" y="3"/>
                        </a:lnTo>
                        <a:lnTo>
                          <a:pt x="111" y="3"/>
                        </a:lnTo>
                        <a:lnTo>
                          <a:pt x="111" y="4"/>
                        </a:lnTo>
                        <a:lnTo>
                          <a:pt x="111" y="4"/>
                        </a:lnTo>
                        <a:lnTo>
                          <a:pt x="111" y="5"/>
                        </a:lnTo>
                        <a:lnTo>
                          <a:pt x="111" y="5"/>
                        </a:lnTo>
                        <a:lnTo>
                          <a:pt x="111" y="5"/>
                        </a:lnTo>
                        <a:lnTo>
                          <a:pt x="112" y="5"/>
                        </a:lnTo>
                        <a:lnTo>
                          <a:pt x="112" y="5"/>
                        </a:lnTo>
                        <a:lnTo>
                          <a:pt x="112" y="5"/>
                        </a:lnTo>
                        <a:lnTo>
                          <a:pt x="113" y="5"/>
                        </a:lnTo>
                        <a:lnTo>
                          <a:pt x="113" y="6"/>
                        </a:lnTo>
                        <a:lnTo>
                          <a:pt x="113" y="6"/>
                        </a:lnTo>
                        <a:lnTo>
                          <a:pt x="113" y="7"/>
                        </a:lnTo>
                        <a:lnTo>
                          <a:pt x="113" y="7"/>
                        </a:lnTo>
                        <a:lnTo>
                          <a:pt x="113" y="7"/>
                        </a:lnTo>
                        <a:lnTo>
                          <a:pt x="113" y="8"/>
                        </a:lnTo>
                        <a:lnTo>
                          <a:pt x="113" y="8"/>
                        </a:lnTo>
                        <a:lnTo>
                          <a:pt x="113" y="8"/>
                        </a:lnTo>
                        <a:lnTo>
                          <a:pt x="113" y="8"/>
                        </a:lnTo>
                        <a:lnTo>
                          <a:pt x="114" y="9"/>
                        </a:lnTo>
                        <a:lnTo>
                          <a:pt x="114" y="9"/>
                        </a:lnTo>
                        <a:lnTo>
                          <a:pt x="114" y="9"/>
                        </a:lnTo>
                        <a:lnTo>
                          <a:pt x="116" y="9"/>
                        </a:lnTo>
                        <a:lnTo>
                          <a:pt x="118" y="9"/>
                        </a:lnTo>
                        <a:lnTo>
                          <a:pt x="119" y="9"/>
                        </a:lnTo>
                        <a:lnTo>
                          <a:pt x="121" y="9"/>
                        </a:lnTo>
                        <a:lnTo>
                          <a:pt x="122" y="9"/>
                        </a:lnTo>
                        <a:lnTo>
                          <a:pt x="122" y="9"/>
                        </a:lnTo>
                        <a:lnTo>
                          <a:pt x="122" y="9"/>
                        </a:lnTo>
                        <a:lnTo>
                          <a:pt x="122" y="8"/>
                        </a:lnTo>
                        <a:lnTo>
                          <a:pt x="123" y="8"/>
                        </a:lnTo>
                        <a:lnTo>
                          <a:pt x="123" y="8"/>
                        </a:lnTo>
                        <a:lnTo>
                          <a:pt x="123" y="7"/>
                        </a:lnTo>
                        <a:lnTo>
                          <a:pt x="123" y="7"/>
                        </a:lnTo>
                        <a:lnTo>
                          <a:pt x="123" y="7"/>
                        </a:lnTo>
                        <a:lnTo>
                          <a:pt x="124" y="7"/>
                        </a:lnTo>
                        <a:lnTo>
                          <a:pt x="124" y="7"/>
                        </a:lnTo>
                        <a:lnTo>
                          <a:pt x="125" y="6"/>
                        </a:lnTo>
                        <a:lnTo>
                          <a:pt x="125" y="6"/>
                        </a:lnTo>
                        <a:lnTo>
                          <a:pt x="126" y="6"/>
                        </a:lnTo>
                        <a:lnTo>
                          <a:pt x="126" y="5"/>
                        </a:lnTo>
                        <a:lnTo>
                          <a:pt x="126" y="5"/>
                        </a:lnTo>
                        <a:lnTo>
                          <a:pt x="127" y="5"/>
                        </a:lnTo>
                        <a:lnTo>
                          <a:pt x="127" y="5"/>
                        </a:lnTo>
                        <a:lnTo>
                          <a:pt x="127" y="5"/>
                        </a:lnTo>
                        <a:lnTo>
                          <a:pt x="128" y="5"/>
                        </a:lnTo>
                        <a:lnTo>
                          <a:pt x="128" y="4"/>
                        </a:lnTo>
                        <a:lnTo>
                          <a:pt x="128" y="4"/>
                        </a:lnTo>
                        <a:lnTo>
                          <a:pt x="128" y="4"/>
                        </a:lnTo>
                        <a:lnTo>
                          <a:pt x="129" y="4"/>
                        </a:lnTo>
                        <a:lnTo>
                          <a:pt x="129" y="4"/>
                        </a:lnTo>
                        <a:lnTo>
                          <a:pt x="130" y="4"/>
                        </a:lnTo>
                        <a:lnTo>
                          <a:pt x="131" y="4"/>
                        </a:lnTo>
                        <a:lnTo>
                          <a:pt x="131" y="4"/>
                        </a:lnTo>
                        <a:lnTo>
                          <a:pt x="131" y="5"/>
                        </a:lnTo>
                        <a:lnTo>
                          <a:pt x="131" y="5"/>
                        </a:lnTo>
                        <a:lnTo>
                          <a:pt x="131" y="5"/>
                        </a:lnTo>
                        <a:lnTo>
                          <a:pt x="132" y="5"/>
                        </a:lnTo>
                        <a:lnTo>
                          <a:pt x="132" y="5"/>
                        </a:lnTo>
                        <a:lnTo>
                          <a:pt x="132" y="5"/>
                        </a:lnTo>
                        <a:lnTo>
                          <a:pt x="133" y="5"/>
                        </a:lnTo>
                        <a:lnTo>
                          <a:pt x="133" y="6"/>
                        </a:lnTo>
                        <a:lnTo>
                          <a:pt x="133" y="7"/>
                        </a:lnTo>
                        <a:lnTo>
                          <a:pt x="133" y="8"/>
                        </a:lnTo>
                        <a:lnTo>
                          <a:pt x="133" y="9"/>
                        </a:lnTo>
                        <a:lnTo>
                          <a:pt x="133" y="9"/>
                        </a:lnTo>
                        <a:lnTo>
                          <a:pt x="133" y="9"/>
                        </a:lnTo>
                        <a:lnTo>
                          <a:pt x="133" y="10"/>
                        </a:lnTo>
                        <a:lnTo>
                          <a:pt x="133" y="10"/>
                        </a:lnTo>
                        <a:lnTo>
                          <a:pt x="133" y="10"/>
                        </a:lnTo>
                        <a:lnTo>
                          <a:pt x="134" y="10"/>
                        </a:lnTo>
                        <a:lnTo>
                          <a:pt x="134" y="10"/>
                        </a:lnTo>
                        <a:lnTo>
                          <a:pt x="134" y="10"/>
                        </a:lnTo>
                        <a:lnTo>
                          <a:pt x="134" y="11"/>
                        </a:lnTo>
                        <a:lnTo>
                          <a:pt x="135" y="11"/>
                        </a:lnTo>
                        <a:lnTo>
                          <a:pt x="135" y="11"/>
                        </a:lnTo>
                        <a:lnTo>
                          <a:pt x="135" y="12"/>
                        </a:lnTo>
                        <a:lnTo>
                          <a:pt x="135" y="12"/>
                        </a:lnTo>
                        <a:lnTo>
                          <a:pt x="135" y="12"/>
                        </a:lnTo>
                        <a:lnTo>
                          <a:pt x="136" y="12"/>
                        </a:lnTo>
                        <a:lnTo>
                          <a:pt x="136" y="12"/>
                        </a:lnTo>
                        <a:lnTo>
                          <a:pt x="136" y="12"/>
                        </a:lnTo>
                        <a:lnTo>
                          <a:pt x="136" y="12"/>
                        </a:lnTo>
                        <a:lnTo>
                          <a:pt x="136" y="13"/>
                        </a:lnTo>
                        <a:lnTo>
                          <a:pt x="137" y="13"/>
                        </a:lnTo>
                        <a:lnTo>
                          <a:pt x="137" y="13"/>
                        </a:lnTo>
                        <a:lnTo>
                          <a:pt x="138" y="13"/>
                        </a:lnTo>
                        <a:lnTo>
                          <a:pt x="138" y="13"/>
                        </a:lnTo>
                        <a:lnTo>
                          <a:pt x="139" y="13"/>
                        </a:lnTo>
                        <a:lnTo>
                          <a:pt x="139" y="14"/>
                        </a:lnTo>
                        <a:lnTo>
                          <a:pt x="141" y="14"/>
                        </a:lnTo>
                        <a:lnTo>
                          <a:pt x="143" y="14"/>
                        </a:lnTo>
                        <a:lnTo>
                          <a:pt x="144" y="14"/>
                        </a:lnTo>
                        <a:lnTo>
                          <a:pt x="146" y="14"/>
                        </a:lnTo>
                        <a:lnTo>
                          <a:pt x="146" y="14"/>
                        </a:lnTo>
                        <a:lnTo>
                          <a:pt x="146" y="14"/>
                        </a:lnTo>
                        <a:lnTo>
                          <a:pt x="146" y="14"/>
                        </a:lnTo>
                        <a:lnTo>
                          <a:pt x="147" y="15"/>
                        </a:lnTo>
                        <a:lnTo>
                          <a:pt x="147" y="15"/>
                        </a:lnTo>
                        <a:lnTo>
                          <a:pt x="148" y="15"/>
                        </a:lnTo>
                        <a:lnTo>
                          <a:pt x="148" y="15"/>
                        </a:lnTo>
                        <a:lnTo>
                          <a:pt x="149" y="15"/>
                        </a:lnTo>
                        <a:lnTo>
                          <a:pt x="149" y="15"/>
                        </a:lnTo>
                        <a:lnTo>
                          <a:pt x="150" y="15"/>
                        </a:lnTo>
                        <a:lnTo>
                          <a:pt x="150" y="15"/>
                        </a:lnTo>
                        <a:lnTo>
                          <a:pt x="151" y="15"/>
                        </a:lnTo>
                        <a:lnTo>
                          <a:pt x="151" y="15"/>
                        </a:lnTo>
                        <a:lnTo>
                          <a:pt x="151" y="16"/>
                        </a:lnTo>
                        <a:lnTo>
                          <a:pt x="152" y="16"/>
                        </a:lnTo>
                        <a:lnTo>
                          <a:pt x="152" y="17"/>
                        </a:lnTo>
                        <a:lnTo>
                          <a:pt x="152" y="18"/>
                        </a:lnTo>
                        <a:lnTo>
                          <a:pt x="152" y="19"/>
                        </a:lnTo>
                        <a:lnTo>
                          <a:pt x="153" y="19"/>
                        </a:lnTo>
                        <a:lnTo>
                          <a:pt x="153" y="21"/>
                        </a:lnTo>
                        <a:lnTo>
                          <a:pt x="153" y="22"/>
                        </a:lnTo>
                        <a:lnTo>
                          <a:pt x="153" y="23"/>
                        </a:lnTo>
                        <a:lnTo>
                          <a:pt x="153" y="23"/>
                        </a:lnTo>
                        <a:lnTo>
                          <a:pt x="153" y="24"/>
                        </a:lnTo>
                        <a:lnTo>
                          <a:pt x="154" y="25"/>
                        </a:lnTo>
                        <a:lnTo>
                          <a:pt x="155" y="25"/>
                        </a:lnTo>
                        <a:lnTo>
                          <a:pt x="155" y="25"/>
                        </a:lnTo>
                        <a:lnTo>
                          <a:pt x="156" y="25"/>
                        </a:lnTo>
                        <a:lnTo>
                          <a:pt x="156" y="25"/>
                        </a:lnTo>
                        <a:lnTo>
                          <a:pt x="156" y="25"/>
                        </a:lnTo>
                        <a:lnTo>
                          <a:pt x="157" y="25"/>
                        </a:lnTo>
                        <a:lnTo>
                          <a:pt x="157" y="25"/>
                        </a:lnTo>
                        <a:lnTo>
                          <a:pt x="158" y="25"/>
                        </a:lnTo>
                        <a:lnTo>
                          <a:pt x="158" y="26"/>
                        </a:lnTo>
                        <a:lnTo>
                          <a:pt x="159" y="27"/>
                        </a:lnTo>
                        <a:lnTo>
                          <a:pt x="159" y="28"/>
                        </a:lnTo>
                        <a:lnTo>
                          <a:pt x="160" y="28"/>
                        </a:lnTo>
                        <a:lnTo>
                          <a:pt x="160" y="29"/>
                        </a:lnTo>
                        <a:lnTo>
                          <a:pt x="161" y="30"/>
                        </a:lnTo>
                        <a:lnTo>
                          <a:pt x="162" y="30"/>
                        </a:lnTo>
                        <a:lnTo>
                          <a:pt x="163" y="30"/>
                        </a:lnTo>
                        <a:lnTo>
                          <a:pt x="163" y="31"/>
                        </a:lnTo>
                        <a:lnTo>
                          <a:pt x="162" y="31"/>
                        </a:lnTo>
                        <a:lnTo>
                          <a:pt x="162" y="32"/>
                        </a:lnTo>
                        <a:lnTo>
                          <a:pt x="162" y="33"/>
                        </a:lnTo>
                        <a:lnTo>
                          <a:pt x="163" y="34"/>
                        </a:lnTo>
                        <a:lnTo>
                          <a:pt x="163" y="34"/>
                        </a:lnTo>
                        <a:lnTo>
                          <a:pt x="163" y="35"/>
                        </a:lnTo>
                        <a:lnTo>
                          <a:pt x="164" y="35"/>
                        </a:lnTo>
                        <a:lnTo>
                          <a:pt x="164" y="36"/>
                        </a:lnTo>
                        <a:lnTo>
                          <a:pt x="165" y="36"/>
                        </a:lnTo>
                        <a:lnTo>
                          <a:pt x="165" y="37"/>
                        </a:lnTo>
                        <a:lnTo>
                          <a:pt x="166" y="37"/>
                        </a:lnTo>
                        <a:lnTo>
                          <a:pt x="166" y="38"/>
                        </a:lnTo>
                        <a:lnTo>
                          <a:pt x="166" y="38"/>
                        </a:lnTo>
                        <a:lnTo>
                          <a:pt x="166" y="39"/>
                        </a:lnTo>
                        <a:lnTo>
                          <a:pt x="166" y="40"/>
                        </a:lnTo>
                        <a:lnTo>
                          <a:pt x="166" y="40"/>
                        </a:lnTo>
                        <a:lnTo>
                          <a:pt x="165" y="40"/>
                        </a:lnTo>
                        <a:lnTo>
                          <a:pt x="165" y="40"/>
                        </a:lnTo>
                        <a:lnTo>
                          <a:pt x="165" y="41"/>
                        </a:lnTo>
                        <a:lnTo>
                          <a:pt x="165" y="41"/>
                        </a:lnTo>
                        <a:lnTo>
                          <a:pt x="164" y="41"/>
                        </a:lnTo>
                        <a:lnTo>
                          <a:pt x="164" y="42"/>
                        </a:lnTo>
                        <a:lnTo>
                          <a:pt x="164" y="42"/>
                        </a:lnTo>
                        <a:lnTo>
                          <a:pt x="164" y="42"/>
                        </a:lnTo>
                        <a:lnTo>
                          <a:pt x="164" y="43"/>
                        </a:lnTo>
                        <a:lnTo>
                          <a:pt x="164" y="43"/>
                        </a:lnTo>
                        <a:lnTo>
                          <a:pt x="164" y="44"/>
                        </a:lnTo>
                        <a:lnTo>
                          <a:pt x="164" y="44"/>
                        </a:lnTo>
                        <a:lnTo>
                          <a:pt x="164" y="44"/>
                        </a:lnTo>
                        <a:lnTo>
                          <a:pt x="164" y="45"/>
                        </a:lnTo>
                        <a:lnTo>
                          <a:pt x="165" y="45"/>
                        </a:lnTo>
                        <a:lnTo>
                          <a:pt x="165" y="45"/>
                        </a:lnTo>
                        <a:lnTo>
                          <a:pt x="165" y="45"/>
                        </a:lnTo>
                        <a:lnTo>
                          <a:pt x="166" y="45"/>
                        </a:lnTo>
                        <a:lnTo>
                          <a:pt x="166" y="45"/>
                        </a:lnTo>
                        <a:lnTo>
                          <a:pt x="166" y="46"/>
                        </a:lnTo>
                        <a:lnTo>
                          <a:pt x="166" y="46"/>
                        </a:lnTo>
                        <a:lnTo>
                          <a:pt x="166" y="47"/>
                        </a:lnTo>
                        <a:lnTo>
                          <a:pt x="166" y="47"/>
                        </a:lnTo>
                        <a:lnTo>
                          <a:pt x="166" y="47"/>
                        </a:lnTo>
                        <a:lnTo>
                          <a:pt x="166" y="48"/>
                        </a:lnTo>
                        <a:lnTo>
                          <a:pt x="166" y="48"/>
                        </a:lnTo>
                        <a:lnTo>
                          <a:pt x="166" y="48"/>
                        </a:lnTo>
                        <a:lnTo>
                          <a:pt x="167" y="48"/>
                        </a:lnTo>
                        <a:lnTo>
                          <a:pt x="167" y="48"/>
                        </a:lnTo>
                        <a:lnTo>
                          <a:pt x="167" y="49"/>
                        </a:lnTo>
                        <a:lnTo>
                          <a:pt x="168" y="49"/>
                        </a:lnTo>
                        <a:lnTo>
                          <a:pt x="168" y="49"/>
                        </a:lnTo>
                        <a:lnTo>
                          <a:pt x="168" y="49"/>
                        </a:lnTo>
                        <a:lnTo>
                          <a:pt x="168" y="50"/>
                        </a:lnTo>
                        <a:lnTo>
                          <a:pt x="168" y="50"/>
                        </a:lnTo>
                        <a:lnTo>
                          <a:pt x="168" y="50"/>
                        </a:lnTo>
                        <a:lnTo>
                          <a:pt x="167" y="50"/>
                        </a:lnTo>
                        <a:lnTo>
                          <a:pt x="167" y="51"/>
                        </a:lnTo>
                        <a:lnTo>
                          <a:pt x="167" y="51"/>
                        </a:lnTo>
                        <a:lnTo>
                          <a:pt x="167" y="52"/>
                        </a:lnTo>
                        <a:lnTo>
                          <a:pt x="167" y="52"/>
                        </a:lnTo>
                        <a:lnTo>
                          <a:pt x="167" y="53"/>
                        </a:lnTo>
                        <a:lnTo>
                          <a:pt x="167" y="54"/>
                        </a:lnTo>
                        <a:lnTo>
                          <a:pt x="167" y="55"/>
                        </a:lnTo>
                        <a:lnTo>
                          <a:pt x="168" y="55"/>
                        </a:lnTo>
                        <a:lnTo>
                          <a:pt x="168" y="56"/>
                        </a:lnTo>
                        <a:lnTo>
                          <a:pt x="168" y="57"/>
                        </a:lnTo>
                        <a:lnTo>
                          <a:pt x="168" y="58"/>
                        </a:lnTo>
                        <a:lnTo>
                          <a:pt x="168" y="59"/>
                        </a:lnTo>
                        <a:lnTo>
                          <a:pt x="168" y="60"/>
                        </a:lnTo>
                        <a:lnTo>
                          <a:pt x="168" y="61"/>
                        </a:lnTo>
                        <a:lnTo>
                          <a:pt x="168" y="62"/>
                        </a:lnTo>
                        <a:lnTo>
                          <a:pt x="166" y="65"/>
                        </a:lnTo>
                        <a:lnTo>
                          <a:pt x="164" y="67"/>
                        </a:lnTo>
                        <a:lnTo>
                          <a:pt x="164" y="68"/>
                        </a:lnTo>
                        <a:lnTo>
                          <a:pt x="163" y="70"/>
                        </a:lnTo>
                        <a:lnTo>
                          <a:pt x="162" y="71"/>
                        </a:lnTo>
                        <a:lnTo>
                          <a:pt x="161" y="72"/>
                        </a:lnTo>
                        <a:lnTo>
                          <a:pt x="158" y="72"/>
                        </a:lnTo>
                        <a:lnTo>
                          <a:pt x="155" y="72"/>
                        </a:lnTo>
                        <a:lnTo>
                          <a:pt x="152" y="72"/>
                        </a:lnTo>
                        <a:lnTo>
                          <a:pt x="149" y="72"/>
                        </a:lnTo>
                        <a:lnTo>
                          <a:pt x="149" y="73"/>
                        </a:lnTo>
                        <a:lnTo>
                          <a:pt x="149" y="73"/>
                        </a:lnTo>
                        <a:lnTo>
                          <a:pt x="148" y="74"/>
                        </a:lnTo>
                        <a:lnTo>
                          <a:pt x="148" y="75"/>
                        </a:lnTo>
                        <a:lnTo>
                          <a:pt x="147" y="76"/>
                        </a:lnTo>
                        <a:lnTo>
                          <a:pt x="146" y="77"/>
                        </a:lnTo>
                        <a:lnTo>
                          <a:pt x="145" y="79"/>
                        </a:lnTo>
                        <a:lnTo>
                          <a:pt x="144" y="79"/>
                        </a:lnTo>
                        <a:lnTo>
                          <a:pt x="144" y="80"/>
                        </a:lnTo>
                        <a:lnTo>
                          <a:pt x="144" y="81"/>
                        </a:lnTo>
                        <a:lnTo>
                          <a:pt x="143" y="82"/>
                        </a:lnTo>
                        <a:lnTo>
                          <a:pt x="143" y="83"/>
                        </a:lnTo>
                        <a:lnTo>
                          <a:pt x="143" y="83"/>
                        </a:lnTo>
                        <a:lnTo>
                          <a:pt x="142" y="84"/>
                        </a:lnTo>
                        <a:lnTo>
                          <a:pt x="141" y="84"/>
                        </a:lnTo>
                        <a:lnTo>
                          <a:pt x="140" y="84"/>
                        </a:lnTo>
                        <a:lnTo>
                          <a:pt x="139" y="84"/>
                        </a:lnTo>
                        <a:lnTo>
                          <a:pt x="138" y="84"/>
                        </a:lnTo>
                        <a:lnTo>
                          <a:pt x="138" y="83"/>
                        </a:lnTo>
                        <a:lnTo>
                          <a:pt x="136" y="83"/>
                        </a:lnTo>
                        <a:lnTo>
                          <a:pt x="135" y="83"/>
                        </a:lnTo>
                        <a:lnTo>
                          <a:pt x="134" y="82"/>
                        </a:lnTo>
                        <a:lnTo>
                          <a:pt x="132" y="82"/>
                        </a:lnTo>
                        <a:lnTo>
                          <a:pt x="131" y="82"/>
                        </a:lnTo>
                        <a:lnTo>
                          <a:pt x="130" y="82"/>
                        </a:lnTo>
                        <a:lnTo>
                          <a:pt x="130" y="83"/>
                        </a:lnTo>
                        <a:lnTo>
                          <a:pt x="129" y="83"/>
                        </a:lnTo>
                        <a:lnTo>
                          <a:pt x="129" y="84"/>
                        </a:lnTo>
                        <a:lnTo>
                          <a:pt x="128" y="84"/>
                        </a:lnTo>
                        <a:lnTo>
                          <a:pt x="128" y="85"/>
                        </a:lnTo>
                        <a:lnTo>
                          <a:pt x="128" y="86"/>
                        </a:lnTo>
                        <a:lnTo>
                          <a:pt x="128" y="87"/>
                        </a:lnTo>
                        <a:lnTo>
                          <a:pt x="127" y="87"/>
                        </a:lnTo>
                        <a:lnTo>
                          <a:pt x="127" y="87"/>
                        </a:lnTo>
                        <a:lnTo>
                          <a:pt x="127" y="87"/>
                        </a:lnTo>
                        <a:lnTo>
                          <a:pt x="126" y="87"/>
                        </a:lnTo>
                        <a:lnTo>
                          <a:pt x="126" y="88"/>
                        </a:lnTo>
                        <a:lnTo>
                          <a:pt x="126" y="88"/>
                        </a:lnTo>
                        <a:lnTo>
                          <a:pt x="126" y="88"/>
                        </a:lnTo>
                        <a:lnTo>
                          <a:pt x="126" y="89"/>
                        </a:lnTo>
                        <a:lnTo>
                          <a:pt x="125" y="91"/>
                        </a:lnTo>
                        <a:lnTo>
                          <a:pt x="123" y="93"/>
                        </a:lnTo>
                        <a:lnTo>
                          <a:pt x="121" y="95"/>
                        </a:lnTo>
                        <a:lnTo>
                          <a:pt x="119" y="97"/>
                        </a:lnTo>
                        <a:lnTo>
                          <a:pt x="119" y="97"/>
                        </a:lnTo>
                        <a:lnTo>
                          <a:pt x="119" y="97"/>
                        </a:lnTo>
                        <a:lnTo>
                          <a:pt x="118" y="97"/>
                        </a:lnTo>
                        <a:lnTo>
                          <a:pt x="118" y="97"/>
                        </a:lnTo>
                        <a:lnTo>
                          <a:pt x="117" y="96"/>
                        </a:lnTo>
                        <a:lnTo>
                          <a:pt x="116" y="96"/>
                        </a:lnTo>
                        <a:lnTo>
                          <a:pt x="115" y="95"/>
                        </a:lnTo>
                        <a:lnTo>
                          <a:pt x="115" y="94"/>
                        </a:lnTo>
                        <a:lnTo>
                          <a:pt x="113" y="93"/>
                        </a:lnTo>
                        <a:lnTo>
                          <a:pt x="112" y="92"/>
                        </a:lnTo>
                        <a:lnTo>
                          <a:pt x="111" y="90"/>
                        </a:lnTo>
                        <a:lnTo>
                          <a:pt x="109" y="89"/>
                        </a:lnTo>
                        <a:lnTo>
                          <a:pt x="109" y="88"/>
                        </a:lnTo>
                        <a:lnTo>
                          <a:pt x="108" y="88"/>
                        </a:lnTo>
                        <a:lnTo>
                          <a:pt x="107" y="87"/>
                        </a:lnTo>
                        <a:lnTo>
                          <a:pt x="106" y="87"/>
                        </a:lnTo>
                        <a:lnTo>
                          <a:pt x="106" y="86"/>
                        </a:lnTo>
                        <a:lnTo>
                          <a:pt x="106" y="86"/>
                        </a:lnTo>
                        <a:lnTo>
                          <a:pt x="106" y="86"/>
                        </a:lnTo>
                        <a:lnTo>
                          <a:pt x="106" y="85"/>
                        </a:lnTo>
                        <a:lnTo>
                          <a:pt x="105" y="85"/>
                        </a:lnTo>
                        <a:lnTo>
                          <a:pt x="105" y="85"/>
                        </a:lnTo>
                        <a:lnTo>
                          <a:pt x="105" y="85"/>
                        </a:lnTo>
                        <a:lnTo>
                          <a:pt x="104" y="85"/>
                        </a:lnTo>
                        <a:lnTo>
                          <a:pt x="103" y="85"/>
                        </a:lnTo>
                        <a:lnTo>
                          <a:pt x="101" y="85"/>
                        </a:lnTo>
                        <a:lnTo>
                          <a:pt x="100" y="85"/>
                        </a:lnTo>
                        <a:lnTo>
                          <a:pt x="98" y="85"/>
                        </a:lnTo>
                        <a:lnTo>
                          <a:pt x="97" y="85"/>
                        </a:lnTo>
                        <a:lnTo>
                          <a:pt x="96" y="85"/>
                        </a:lnTo>
                        <a:lnTo>
                          <a:pt x="94" y="85"/>
                        </a:lnTo>
                        <a:lnTo>
                          <a:pt x="93" y="86"/>
                        </a:lnTo>
                        <a:lnTo>
                          <a:pt x="92" y="86"/>
                        </a:lnTo>
                        <a:lnTo>
                          <a:pt x="91" y="86"/>
                        </a:lnTo>
                        <a:lnTo>
                          <a:pt x="90" y="87"/>
                        </a:lnTo>
                        <a:lnTo>
                          <a:pt x="89" y="88"/>
                        </a:lnTo>
                        <a:lnTo>
                          <a:pt x="88" y="88"/>
                        </a:lnTo>
                        <a:lnTo>
                          <a:pt x="88" y="89"/>
                        </a:lnTo>
                        <a:lnTo>
                          <a:pt x="87" y="89"/>
                        </a:lnTo>
                        <a:lnTo>
                          <a:pt x="86" y="90"/>
                        </a:lnTo>
                        <a:lnTo>
                          <a:pt x="83" y="90"/>
                        </a:lnTo>
                        <a:lnTo>
                          <a:pt x="80" y="90"/>
                        </a:lnTo>
                        <a:lnTo>
                          <a:pt x="77" y="90"/>
                        </a:lnTo>
                        <a:lnTo>
                          <a:pt x="74" y="90"/>
                        </a:lnTo>
                        <a:lnTo>
                          <a:pt x="73" y="90"/>
                        </a:lnTo>
                        <a:lnTo>
                          <a:pt x="72" y="91"/>
                        </a:lnTo>
                        <a:lnTo>
                          <a:pt x="72" y="91"/>
                        </a:lnTo>
                        <a:lnTo>
                          <a:pt x="71" y="91"/>
                        </a:lnTo>
                        <a:lnTo>
                          <a:pt x="70" y="92"/>
                        </a:lnTo>
                        <a:lnTo>
                          <a:pt x="70" y="92"/>
                        </a:lnTo>
                        <a:lnTo>
                          <a:pt x="68" y="93"/>
                        </a:lnTo>
                        <a:lnTo>
                          <a:pt x="67" y="94"/>
                        </a:lnTo>
                        <a:lnTo>
                          <a:pt x="67" y="95"/>
                        </a:lnTo>
                        <a:lnTo>
                          <a:pt x="66" y="95"/>
                        </a:lnTo>
                        <a:lnTo>
                          <a:pt x="65" y="96"/>
                        </a:lnTo>
                        <a:lnTo>
                          <a:pt x="65" y="96"/>
                        </a:lnTo>
                        <a:lnTo>
                          <a:pt x="64" y="97"/>
                        </a:lnTo>
                        <a:lnTo>
                          <a:pt x="63" y="97"/>
                        </a:lnTo>
                        <a:lnTo>
                          <a:pt x="61" y="97"/>
                        </a:lnTo>
                        <a:lnTo>
                          <a:pt x="60" y="97"/>
                        </a:lnTo>
                        <a:lnTo>
                          <a:pt x="59" y="97"/>
                        </a:lnTo>
                        <a:lnTo>
                          <a:pt x="57" y="97"/>
                        </a:lnTo>
                        <a:lnTo>
                          <a:pt x="56" y="96"/>
                        </a:lnTo>
                        <a:lnTo>
                          <a:pt x="55" y="96"/>
                        </a:lnTo>
                        <a:lnTo>
                          <a:pt x="54" y="96"/>
                        </a:lnTo>
                        <a:lnTo>
                          <a:pt x="53" y="96"/>
                        </a:lnTo>
                        <a:lnTo>
                          <a:pt x="50" y="95"/>
                        </a:lnTo>
                        <a:lnTo>
                          <a:pt x="49" y="94"/>
                        </a:lnTo>
                        <a:lnTo>
                          <a:pt x="47" y="93"/>
                        </a:lnTo>
                        <a:lnTo>
                          <a:pt x="45" y="92"/>
                        </a:lnTo>
                        <a:lnTo>
                          <a:pt x="43" y="91"/>
                        </a:lnTo>
                        <a:lnTo>
                          <a:pt x="41" y="91"/>
                        </a:lnTo>
                        <a:lnTo>
                          <a:pt x="39" y="90"/>
                        </a:lnTo>
                        <a:lnTo>
                          <a:pt x="37" y="89"/>
                        </a:lnTo>
                        <a:lnTo>
                          <a:pt x="36" y="89"/>
                        </a:lnTo>
                        <a:lnTo>
                          <a:pt x="34" y="89"/>
                        </a:lnTo>
                        <a:lnTo>
                          <a:pt x="33" y="88"/>
                        </a:lnTo>
                        <a:lnTo>
                          <a:pt x="32" y="88"/>
                        </a:lnTo>
                        <a:lnTo>
                          <a:pt x="31" y="88"/>
                        </a:lnTo>
                        <a:lnTo>
                          <a:pt x="29" y="88"/>
                        </a:lnTo>
                        <a:lnTo>
                          <a:pt x="28" y="88"/>
                        </a:lnTo>
                        <a:lnTo>
                          <a:pt x="26" y="89"/>
                        </a:lnTo>
                        <a:lnTo>
                          <a:pt x="26" y="88"/>
                        </a:lnTo>
                        <a:lnTo>
                          <a:pt x="26" y="87"/>
                        </a:lnTo>
                        <a:lnTo>
                          <a:pt x="26" y="87"/>
                        </a:lnTo>
                        <a:lnTo>
                          <a:pt x="25" y="87"/>
                        </a:lnTo>
                        <a:lnTo>
                          <a:pt x="25" y="87"/>
                        </a:lnTo>
                        <a:lnTo>
                          <a:pt x="24" y="86"/>
                        </a:lnTo>
                        <a:lnTo>
                          <a:pt x="24" y="86"/>
                        </a:lnTo>
                        <a:lnTo>
                          <a:pt x="23" y="86"/>
                        </a:lnTo>
                        <a:lnTo>
                          <a:pt x="22" y="87"/>
                        </a:lnTo>
                        <a:lnTo>
                          <a:pt x="20" y="87"/>
                        </a:lnTo>
                        <a:lnTo>
                          <a:pt x="19" y="87"/>
                        </a:lnTo>
                        <a:lnTo>
                          <a:pt x="19" y="87"/>
                        </a:lnTo>
                        <a:lnTo>
                          <a:pt x="18" y="87"/>
                        </a:lnTo>
                        <a:lnTo>
                          <a:pt x="18" y="87"/>
                        </a:lnTo>
                        <a:lnTo>
                          <a:pt x="8" y="87"/>
                        </a:lnTo>
                        <a:lnTo>
                          <a:pt x="8" y="86"/>
                        </a:lnTo>
                        <a:lnTo>
                          <a:pt x="8" y="85"/>
                        </a:lnTo>
                        <a:lnTo>
                          <a:pt x="8" y="84"/>
                        </a:lnTo>
                        <a:lnTo>
                          <a:pt x="8" y="83"/>
                        </a:lnTo>
                        <a:lnTo>
                          <a:pt x="7" y="83"/>
                        </a:lnTo>
                        <a:lnTo>
                          <a:pt x="7" y="82"/>
                        </a:lnTo>
                        <a:lnTo>
                          <a:pt x="6" y="81"/>
                        </a:lnTo>
                        <a:lnTo>
                          <a:pt x="6" y="80"/>
                        </a:lnTo>
                        <a:lnTo>
                          <a:pt x="5" y="80"/>
                        </a:lnTo>
                        <a:lnTo>
                          <a:pt x="5" y="79"/>
                        </a:lnTo>
                        <a:lnTo>
                          <a:pt x="4" y="79"/>
                        </a:lnTo>
                        <a:lnTo>
                          <a:pt x="3" y="79"/>
                        </a:lnTo>
                        <a:lnTo>
                          <a:pt x="2" y="78"/>
                        </a:lnTo>
                        <a:lnTo>
                          <a:pt x="2" y="78"/>
                        </a:lnTo>
                        <a:lnTo>
                          <a:pt x="1" y="78"/>
                        </a:lnTo>
                        <a:lnTo>
                          <a:pt x="1" y="77"/>
                        </a:lnTo>
                        <a:lnTo>
                          <a:pt x="1" y="77"/>
                        </a:lnTo>
                        <a:lnTo>
                          <a:pt x="0" y="76"/>
                        </a:lnTo>
                        <a:lnTo>
                          <a:pt x="0" y="76"/>
                        </a:lnTo>
                        <a:lnTo>
                          <a:pt x="0" y="75"/>
                        </a:lnTo>
                        <a:lnTo>
                          <a:pt x="0" y="75"/>
                        </a:lnTo>
                        <a:lnTo>
                          <a:pt x="0" y="74"/>
                        </a:lnTo>
                        <a:lnTo>
                          <a:pt x="0" y="74"/>
                        </a:lnTo>
                        <a:lnTo>
                          <a:pt x="0" y="73"/>
                        </a:lnTo>
                        <a:lnTo>
                          <a:pt x="1" y="73"/>
                        </a:lnTo>
                        <a:lnTo>
                          <a:pt x="1" y="72"/>
                        </a:lnTo>
                        <a:lnTo>
                          <a:pt x="1" y="72"/>
                        </a:lnTo>
                        <a:lnTo>
                          <a:pt x="1" y="71"/>
                        </a:lnTo>
                        <a:lnTo>
                          <a:pt x="1" y="71"/>
                        </a:lnTo>
                        <a:lnTo>
                          <a:pt x="2" y="70"/>
                        </a:lnTo>
                        <a:lnTo>
                          <a:pt x="2" y="70"/>
                        </a:lnTo>
                        <a:lnTo>
                          <a:pt x="2" y="69"/>
                        </a:lnTo>
                        <a:lnTo>
                          <a:pt x="3" y="69"/>
                        </a:lnTo>
                        <a:lnTo>
                          <a:pt x="3" y="69"/>
                        </a:lnTo>
                        <a:lnTo>
                          <a:pt x="3" y="69"/>
                        </a:lnTo>
                        <a:lnTo>
                          <a:pt x="4" y="69"/>
                        </a:lnTo>
                        <a:lnTo>
                          <a:pt x="4" y="68"/>
                        </a:lnTo>
                        <a:lnTo>
                          <a:pt x="4" y="68"/>
                        </a:lnTo>
                        <a:lnTo>
                          <a:pt x="4" y="68"/>
                        </a:lnTo>
                        <a:lnTo>
                          <a:pt x="4" y="68"/>
                        </a:lnTo>
                        <a:lnTo>
                          <a:pt x="4" y="67"/>
                        </a:lnTo>
                        <a:lnTo>
                          <a:pt x="4" y="67"/>
                        </a:lnTo>
                        <a:lnTo>
                          <a:pt x="5" y="66"/>
                        </a:lnTo>
                        <a:lnTo>
                          <a:pt x="5" y="66"/>
                        </a:lnTo>
                        <a:lnTo>
                          <a:pt x="5" y="65"/>
                        </a:lnTo>
                        <a:lnTo>
                          <a:pt x="6" y="65"/>
                        </a:lnTo>
                        <a:lnTo>
                          <a:pt x="6" y="64"/>
                        </a:lnTo>
                        <a:lnTo>
                          <a:pt x="7" y="64"/>
                        </a:lnTo>
                        <a:lnTo>
                          <a:pt x="7" y="64"/>
                        </a:lnTo>
                        <a:lnTo>
                          <a:pt x="8" y="64"/>
                        </a:lnTo>
                        <a:lnTo>
                          <a:pt x="8" y="64"/>
                        </a:lnTo>
                        <a:lnTo>
                          <a:pt x="9" y="64"/>
                        </a:lnTo>
                        <a:lnTo>
                          <a:pt x="10" y="64"/>
                        </a:lnTo>
                        <a:lnTo>
                          <a:pt x="10" y="63"/>
                        </a:lnTo>
                        <a:lnTo>
                          <a:pt x="11" y="63"/>
                        </a:lnTo>
                        <a:lnTo>
                          <a:pt x="11" y="63"/>
                        </a:lnTo>
                        <a:lnTo>
                          <a:pt x="11" y="62"/>
                        </a:lnTo>
                        <a:lnTo>
                          <a:pt x="11" y="62"/>
                        </a:lnTo>
                        <a:lnTo>
                          <a:pt x="12" y="62"/>
                        </a:lnTo>
                        <a:lnTo>
                          <a:pt x="12" y="61"/>
                        </a:lnTo>
                        <a:lnTo>
                          <a:pt x="13" y="61"/>
                        </a:lnTo>
                        <a:lnTo>
                          <a:pt x="13" y="61"/>
                        </a:lnTo>
                        <a:lnTo>
                          <a:pt x="14" y="60"/>
                        </a:lnTo>
                        <a:lnTo>
                          <a:pt x="14" y="60"/>
                        </a:lnTo>
                        <a:lnTo>
                          <a:pt x="14" y="59"/>
                        </a:lnTo>
                        <a:lnTo>
                          <a:pt x="14" y="59"/>
                        </a:lnTo>
                        <a:lnTo>
                          <a:pt x="15" y="58"/>
                        </a:lnTo>
                        <a:lnTo>
                          <a:pt x="15" y="58"/>
                        </a:lnTo>
                        <a:lnTo>
                          <a:pt x="16" y="58"/>
                        </a:lnTo>
                        <a:lnTo>
                          <a:pt x="16" y="57"/>
                        </a:lnTo>
                        <a:lnTo>
                          <a:pt x="16" y="57"/>
                        </a:lnTo>
                        <a:lnTo>
                          <a:pt x="16" y="57"/>
                        </a:lnTo>
                        <a:lnTo>
                          <a:pt x="16" y="57"/>
                        </a:lnTo>
                        <a:lnTo>
                          <a:pt x="16" y="56"/>
                        </a:lnTo>
                        <a:lnTo>
                          <a:pt x="17" y="55"/>
                        </a:lnTo>
                        <a:lnTo>
                          <a:pt x="16" y="55"/>
                        </a:lnTo>
                        <a:lnTo>
                          <a:pt x="16" y="54"/>
                        </a:lnTo>
                        <a:lnTo>
                          <a:pt x="16" y="53"/>
                        </a:lnTo>
                        <a:lnTo>
                          <a:pt x="16" y="53"/>
                        </a:lnTo>
                        <a:lnTo>
                          <a:pt x="15" y="52"/>
                        </a:lnTo>
                        <a:lnTo>
                          <a:pt x="15" y="51"/>
                        </a:lnTo>
                        <a:lnTo>
                          <a:pt x="14" y="50"/>
                        </a:lnTo>
                        <a:lnTo>
                          <a:pt x="14" y="50"/>
                        </a:lnTo>
                        <a:lnTo>
                          <a:pt x="13" y="49"/>
                        </a:lnTo>
                        <a:lnTo>
                          <a:pt x="13" y="49"/>
                        </a:lnTo>
                        <a:lnTo>
                          <a:pt x="13" y="49"/>
                        </a:lnTo>
                        <a:lnTo>
                          <a:pt x="13" y="48"/>
                        </a:lnTo>
                        <a:lnTo>
                          <a:pt x="13" y="48"/>
                        </a:lnTo>
                        <a:lnTo>
                          <a:pt x="13" y="47"/>
                        </a:lnTo>
                        <a:lnTo>
                          <a:pt x="13" y="47"/>
                        </a:lnTo>
                        <a:lnTo>
                          <a:pt x="13" y="47"/>
                        </a:lnTo>
                        <a:lnTo>
                          <a:pt x="13" y="47"/>
                        </a:lnTo>
                        <a:lnTo>
                          <a:pt x="14" y="47"/>
                        </a:lnTo>
                        <a:lnTo>
                          <a:pt x="14" y="46"/>
                        </a:lnTo>
                        <a:lnTo>
                          <a:pt x="14" y="46"/>
                        </a:lnTo>
                        <a:lnTo>
                          <a:pt x="14" y="45"/>
                        </a:lnTo>
                        <a:lnTo>
                          <a:pt x="14" y="45"/>
                        </a:lnTo>
                        <a:lnTo>
                          <a:pt x="14" y="44"/>
                        </a:lnTo>
                        <a:lnTo>
                          <a:pt x="14" y="44"/>
                        </a:lnTo>
                        <a:lnTo>
                          <a:pt x="14" y="43"/>
                        </a:lnTo>
                        <a:lnTo>
                          <a:pt x="14" y="43"/>
                        </a:lnTo>
                        <a:lnTo>
                          <a:pt x="14" y="42"/>
                        </a:lnTo>
                        <a:lnTo>
                          <a:pt x="14" y="42"/>
                        </a:lnTo>
                        <a:lnTo>
                          <a:pt x="15" y="42"/>
                        </a:lnTo>
                        <a:lnTo>
                          <a:pt x="15" y="42"/>
                        </a:lnTo>
                        <a:lnTo>
                          <a:pt x="16" y="42"/>
                        </a:lnTo>
                        <a:lnTo>
                          <a:pt x="16" y="42"/>
                        </a:lnTo>
                        <a:lnTo>
                          <a:pt x="16" y="41"/>
                        </a:lnTo>
                        <a:lnTo>
                          <a:pt x="16" y="41"/>
                        </a:lnTo>
                        <a:lnTo>
                          <a:pt x="16" y="41"/>
                        </a:lnTo>
                        <a:lnTo>
                          <a:pt x="16" y="40"/>
                        </a:lnTo>
                        <a:lnTo>
                          <a:pt x="16" y="40"/>
                        </a:lnTo>
                        <a:lnTo>
                          <a:pt x="16" y="39"/>
                        </a:lnTo>
                        <a:lnTo>
                          <a:pt x="16" y="39"/>
                        </a:lnTo>
                        <a:lnTo>
                          <a:pt x="16" y="38"/>
                        </a:lnTo>
                        <a:lnTo>
                          <a:pt x="17" y="38"/>
                        </a:lnTo>
                        <a:lnTo>
                          <a:pt x="17" y="37"/>
                        </a:lnTo>
                        <a:lnTo>
                          <a:pt x="17" y="37"/>
                        </a:lnTo>
                        <a:lnTo>
                          <a:pt x="17" y="37"/>
                        </a:lnTo>
                        <a:lnTo>
                          <a:pt x="18" y="37"/>
                        </a:lnTo>
                        <a:lnTo>
                          <a:pt x="19" y="37"/>
                        </a:lnTo>
                        <a:lnTo>
                          <a:pt x="20" y="37"/>
                        </a:lnTo>
                        <a:lnTo>
                          <a:pt x="20" y="37"/>
                        </a:lnTo>
                        <a:lnTo>
                          <a:pt x="21" y="37"/>
                        </a:lnTo>
                        <a:lnTo>
                          <a:pt x="22" y="37"/>
                        </a:lnTo>
                        <a:lnTo>
                          <a:pt x="22" y="36"/>
                        </a:lnTo>
                        <a:lnTo>
                          <a:pt x="22" y="36"/>
                        </a:lnTo>
                        <a:lnTo>
                          <a:pt x="23" y="36"/>
                        </a:lnTo>
                        <a:lnTo>
                          <a:pt x="23" y="36"/>
                        </a:lnTo>
                        <a:lnTo>
                          <a:pt x="23" y="35"/>
                        </a:lnTo>
                        <a:lnTo>
                          <a:pt x="23" y="35"/>
                        </a:lnTo>
                        <a:lnTo>
                          <a:pt x="24" y="35"/>
                        </a:lnTo>
                        <a:lnTo>
                          <a:pt x="24" y="35"/>
                        </a:lnTo>
                        <a:lnTo>
                          <a:pt x="24" y="35"/>
                        </a:lnTo>
                        <a:lnTo>
                          <a:pt x="25" y="35"/>
                        </a:lnTo>
                        <a:lnTo>
                          <a:pt x="26" y="35"/>
                        </a:lnTo>
                        <a:lnTo>
                          <a:pt x="26" y="34"/>
                        </a:lnTo>
                        <a:lnTo>
                          <a:pt x="26" y="34"/>
                        </a:lnTo>
                        <a:lnTo>
                          <a:pt x="27" y="34"/>
                        </a:lnTo>
                        <a:lnTo>
                          <a:pt x="27" y="33"/>
                        </a:lnTo>
                        <a:lnTo>
                          <a:pt x="27" y="33"/>
                        </a:lnTo>
                        <a:lnTo>
                          <a:pt x="28" y="32"/>
                        </a:lnTo>
                        <a:lnTo>
                          <a:pt x="28" y="30"/>
                        </a:lnTo>
                        <a:lnTo>
                          <a:pt x="28" y="29"/>
                        </a:lnTo>
                        <a:lnTo>
                          <a:pt x="28" y="28"/>
                        </a:lnTo>
                        <a:lnTo>
                          <a:pt x="28" y="27"/>
                        </a:lnTo>
                        <a:lnTo>
                          <a:pt x="28" y="26"/>
                        </a:lnTo>
                        <a:lnTo>
                          <a:pt x="28" y="26"/>
                        </a:lnTo>
                        <a:lnTo>
                          <a:pt x="28" y="25"/>
                        </a:lnTo>
                        <a:lnTo>
                          <a:pt x="29" y="25"/>
                        </a:lnTo>
                        <a:lnTo>
                          <a:pt x="29" y="24"/>
                        </a:lnTo>
                        <a:lnTo>
                          <a:pt x="29" y="24"/>
                        </a:lnTo>
                        <a:lnTo>
                          <a:pt x="30" y="24"/>
                        </a:lnTo>
                        <a:lnTo>
                          <a:pt x="30" y="24"/>
                        </a:lnTo>
                        <a:lnTo>
                          <a:pt x="31" y="24"/>
                        </a:lnTo>
                        <a:lnTo>
                          <a:pt x="32" y="24"/>
                        </a:lnTo>
                        <a:lnTo>
                          <a:pt x="33" y="24"/>
                        </a:lnTo>
                        <a:lnTo>
                          <a:pt x="33" y="24"/>
                        </a:lnTo>
                        <a:lnTo>
                          <a:pt x="34" y="24"/>
                        </a:lnTo>
                        <a:lnTo>
                          <a:pt x="35" y="25"/>
                        </a:lnTo>
                        <a:lnTo>
                          <a:pt x="36" y="25"/>
                        </a:lnTo>
                        <a:lnTo>
                          <a:pt x="36" y="26"/>
                        </a:lnTo>
                        <a:lnTo>
                          <a:pt x="36" y="26"/>
                        </a:lnTo>
                        <a:lnTo>
                          <a:pt x="36" y="27"/>
                        </a:lnTo>
                        <a:lnTo>
                          <a:pt x="36" y="27"/>
                        </a:lnTo>
                        <a:lnTo>
                          <a:pt x="36" y="27"/>
                        </a:lnTo>
                        <a:lnTo>
                          <a:pt x="36" y="28"/>
                        </a:lnTo>
                        <a:lnTo>
                          <a:pt x="36" y="28"/>
                        </a:lnTo>
                        <a:lnTo>
                          <a:pt x="36" y="28"/>
                        </a:lnTo>
                        <a:lnTo>
                          <a:pt x="37" y="28"/>
                        </a:lnTo>
                        <a:lnTo>
                          <a:pt x="37" y="29"/>
                        </a:lnTo>
                        <a:lnTo>
                          <a:pt x="37" y="29"/>
                        </a:lnTo>
                        <a:lnTo>
                          <a:pt x="38" y="29"/>
                        </a:lnTo>
                        <a:lnTo>
                          <a:pt x="38" y="29"/>
                        </a:lnTo>
                        <a:lnTo>
                          <a:pt x="38" y="30"/>
                        </a:lnTo>
                        <a:lnTo>
                          <a:pt x="38" y="30"/>
                        </a:lnTo>
                        <a:lnTo>
                          <a:pt x="38" y="30"/>
                        </a:lnTo>
                        <a:lnTo>
                          <a:pt x="38" y="31"/>
                        </a:lnTo>
                        <a:lnTo>
                          <a:pt x="38" y="31"/>
                        </a:lnTo>
                        <a:lnTo>
                          <a:pt x="38" y="31"/>
                        </a:lnTo>
                        <a:lnTo>
                          <a:pt x="38" y="32"/>
                        </a:lnTo>
                        <a:lnTo>
                          <a:pt x="38" y="32"/>
                        </a:lnTo>
                        <a:lnTo>
                          <a:pt x="39" y="32"/>
                        </a:lnTo>
                        <a:lnTo>
                          <a:pt x="39" y="32"/>
                        </a:lnTo>
                        <a:lnTo>
                          <a:pt x="39" y="32"/>
                        </a:lnTo>
                        <a:lnTo>
                          <a:pt x="39" y="34"/>
                        </a:lnTo>
                        <a:lnTo>
                          <a:pt x="39" y="35"/>
                        </a:lnTo>
                        <a:lnTo>
                          <a:pt x="39" y="37"/>
                        </a:lnTo>
                        <a:lnTo>
                          <a:pt x="39" y="39"/>
                        </a:lnTo>
                        <a:lnTo>
                          <a:pt x="39" y="39"/>
                        </a:lnTo>
                        <a:lnTo>
                          <a:pt x="39" y="39"/>
                        </a:lnTo>
                        <a:lnTo>
                          <a:pt x="40" y="40"/>
                        </a:lnTo>
                        <a:lnTo>
                          <a:pt x="40" y="40"/>
                        </a:lnTo>
                        <a:lnTo>
                          <a:pt x="40" y="40"/>
                        </a:lnTo>
                        <a:lnTo>
                          <a:pt x="40" y="40"/>
                        </a:lnTo>
                        <a:lnTo>
                          <a:pt x="41" y="40"/>
                        </a:lnTo>
                        <a:lnTo>
                          <a:pt x="41" y="40"/>
                        </a:lnTo>
                        <a:lnTo>
                          <a:pt x="41" y="41"/>
                        </a:lnTo>
                        <a:lnTo>
                          <a:pt x="41" y="41"/>
                        </a:lnTo>
                        <a:lnTo>
                          <a:pt x="41" y="42"/>
                        </a:lnTo>
                        <a:lnTo>
                          <a:pt x="41" y="42"/>
                        </a:lnTo>
                        <a:lnTo>
                          <a:pt x="41" y="43"/>
                        </a:lnTo>
                        <a:lnTo>
                          <a:pt x="41" y="43"/>
                        </a:lnTo>
                        <a:lnTo>
                          <a:pt x="41" y="43"/>
                        </a:lnTo>
                        <a:lnTo>
                          <a:pt x="42" y="44"/>
                        </a:lnTo>
                        <a:lnTo>
                          <a:pt x="42" y="44"/>
                        </a:lnTo>
                        <a:lnTo>
                          <a:pt x="43" y="45"/>
                        </a:lnTo>
                        <a:lnTo>
                          <a:pt x="43" y="45"/>
                        </a:lnTo>
                        <a:lnTo>
                          <a:pt x="43" y="45"/>
                        </a:lnTo>
                        <a:lnTo>
                          <a:pt x="44" y="45"/>
                        </a:lnTo>
                        <a:lnTo>
                          <a:pt x="44" y="45"/>
                        </a:lnTo>
                        <a:lnTo>
                          <a:pt x="45" y="45"/>
                        </a:lnTo>
                        <a:lnTo>
                          <a:pt x="49" y="45"/>
                        </a:lnTo>
                        <a:lnTo>
                          <a:pt x="50" y="45"/>
                        </a:lnTo>
                        <a:lnTo>
                          <a:pt x="51" y="45"/>
                        </a:lnTo>
                        <a:lnTo>
                          <a:pt x="52" y="45"/>
                        </a:lnTo>
                        <a:lnTo>
                          <a:pt x="53" y="45"/>
                        </a:lnTo>
                        <a:lnTo>
                          <a:pt x="53" y="45"/>
                        </a:lnTo>
                        <a:lnTo>
                          <a:pt x="54" y="45"/>
                        </a:lnTo>
                        <a:lnTo>
                          <a:pt x="54" y="45"/>
                        </a:lnTo>
                        <a:lnTo>
                          <a:pt x="54" y="44"/>
                        </a:lnTo>
                        <a:lnTo>
                          <a:pt x="54" y="44"/>
                        </a:lnTo>
                        <a:lnTo>
                          <a:pt x="55" y="44"/>
                        </a:lnTo>
                        <a:lnTo>
                          <a:pt x="55" y="44"/>
                        </a:lnTo>
                        <a:lnTo>
                          <a:pt x="56" y="44"/>
                        </a:lnTo>
                        <a:lnTo>
                          <a:pt x="57" y="44"/>
                        </a:lnTo>
                        <a:lnTo>
                          <a:pt x="58" y="44"/>
                        </a:lnTo>
                        <a:lnTo>
                          <a:pt x="58" y="44"/>
                        </a:lnTo>
                        <a:lnTo>
                          <a:pt x="58" y="44"/>
                        </a:lnTo>
                        <a:lnTo>
                          <a:pt x="58" y="44"/>
                        </a:lnTo>
                        <a:lnTo>
                          <a:pt x="58" y="44"/>
                        </a:lnTo>
                        <a:lnTo>
                          <a:pt x="58" y="45"/>
                        </a:lnTo>
                        <a:lnTo>
                          <a:pt x="58" y="45"/>
                        </a:lnTo>
                        <a:lnTo>
                          <a:pt x="59" y="45"/>
                        </a:lnTo>
                        <a:lnTo>
                          <a:pt x="59" y="44"/>
                        </a:lnTo>
                        <a:lnTo>
                          <a:pt x="59" y="44"/>
                        </a:lnTo>
                        <a:lnTo>
                          <a:pt x="59" y="44"/>
                        </a:lnTo>
                        <a:lnTo>
                          <a:pt x="59" y="44"/>
                        </a:lnTo>
                        <a:lnTo>
                          <a:pt x="60" y="43"/>
                        </a:lnTo>
                        <a:lnTo>
                          <a:pt x="59" y="43"/>
                        </a:lnTo>
                        <a:lnTo>
                          <a:pt x="59" y="43"/>
                        </a:lnTo>
                        <a:lnTo>
                          <a:pt x="59" y="42"/>
                        </a:lnTo>
                        <a:lnTo>
                          <a:pt x="59" y="42"/>
                        </a:lnTo>
                        <a:lnTo>
                          <a:pt x="58" y="42"/>
                        </a:lnTo>
                        <a:lnTo>
                          <a:pt x="58" y="42"/>
                        </a:lnTo>
                        <a:lnTo>
                          <a:pt x="58" y="42"/>
                        </a:lnTo>
                        <a:lnTo>
                          <a:pt x="58" y="42"/>
                        </a:lnTo>
                        <a:lnTo>
                          <a:pt x="58" y="41"/>
                        </a:lnTo>
                        <a:lnTo>
                          <a:pt x="58" y="41"/>
                        </a:lnTo>
                        <a:lnTo>
                          <a:pt x="58" y="40"/>
                        </a:lnTo>
                        <a:lnTo>
                          <a:pt x="58" y="40"/>
                        </a:lnTo>
                        <a:lnTo>
                          <a:pt x="58" y="40"/>
                        </a:lnTo>
                        <a:lnTo>
                          <a:pt x="59" y="40"/>
                        </a:lnTo>
                        <a:lnTo>
                          <a:pt x="59" y="39"/>
                        </a:lnTo>
                        <a:lnTo>
                          <a:pt x="59" y="39"/>
                        </a:lnTo>
                        <a:lnTo>
                          <a:pt x="59" y="39"/>
                        </a:lnTo>
                        <a:lnTo>
                          <a:pt x="59" y="39"/>
                        </a:lnTo>
                        <a:lnTo>
                          <a:pt x="59" y="38"/>
                        </a:lnTo>
                        <a:lnTo>
                          <a:pt x="59" y="38"/>
                        </a:lnTo>
                        <a:lnTo>
                          <a:pt x="59" y="38"/>
                        </a:lnTo>
                        <a:lnTo>
                          <a:pt x="59" y="37"/>
                        </a:lnTo>
                        <a:lnTo>
                          <a:pt x="59" y="37"/>
                        </a:lnTo>
                        <a:lnTo>
                          <a:pt x="58" y="37"/>
                        </a:lnTo>
                        <a:lnTo>
                          <a:pt x="58" y="37"/>
                        </a:lnTo>
                        <a:lnTo>
                          <a:pt x="58" y="37"/>
                        </a:lnTo>
                        <a:lnTo>
                          <a:pt x="58" y="37"/>
                        </a:lnTo>
                        <a:lnTo>
                          <a:pt x="58" y="36"/>
                        </a:lnTo>
                        <a:lnTo>
                          <a:pt x="58" y="36"/>
                        </a:lnTo>
                        <a:lnTo>
                          <a:pt x="58" y="35"/>
                        </a:lnTo>
                        <a:lnTo>
                          <a:pt x="58" y="35"/>
                        </a:lnTo>
                        <a:lnTo>
                          <a:pt x="58" y="34"/>
                        </a:lnTo>
                        <a:lnTo>
                          <a:pt x="58" y="34"/>
                        </a:lnTo>
                        <a:lnTo>
                          <a:pt x="57" y="34"/>
                        </a:lnTo>
                        <a:lnTo>
                          <a:pt x="57" y="34"/>
                        </a:lnTo>
                        <a:lnTo>
                          <a:pt x="57" y="34"/>
                        </a:lnTo>
                        <a:lnTo>
                          <a:pt x="56" y="34"/>
                        </a:lnTo>
                        <a:lnTo>
                          <a:pt x="56" y="34"/>
                        </a:lnTo>
                        <a:lnTo>
                          <a:pt x="56" y="24"/>
                        </a:lnTo>
                        <a:lnTo>
                          <a:pt x="57" y="24"/>
                        </a:lnTo>
                        <a:lnTo>
                          <a:pt x="58" y="24"/>
                        </a:lnTo>
                        <a:lnTo>
                          <a:pt x="59" y="24"/>
                        </a:lnTo>
                        <a:lnTo>
                          <a:pt x="59" y="24"/>
                        </a:lnTo>
                        <a:lnTo>
                          <a:pt x="60" y="24"/>
                        </a:lnTo>
                        <a:lnTo>
                          <a:pt x="60" y="23"/>
                        </a:lnTo>
                        <a:lnTo>
                          <a:pt x="61" y="23"/>
                        </a:lnTo>
                        <a:lnTo>
                          <a:pt x="61" y="23"/>
                        </a:lnTo>
                        <a:lnTo>
                          <a:pt x="62" y="22"/>
                        </a:lnTo>
                        <a:lnTo>
                          <a:pt x="62" y="22"/>
                        </a:lnTo>
                        <a:lnTo>
                          <a:pt x="63" y="22"/>
                        </a:lnTo>
                        <a:lnTo>
                          <a:pt x="63" y="22"/>
                        </a:lnTo>
                        <a:lnTo>
                          <a:pt x="63" y="22"/>
                        </a:lnTo>
                        <a:lnTo>
                          <a:pt x="64" y="22"/>
                        </a:lnTo>
                        <a:lnTo>
                          <a:pt x="64" y="22"/>
                        </a:lnTo>
                        <a:lnTo>
                          <a:pt x="64" y="21"/>
                        </a:lnTo>
                        <a:lnTo>
                          <a:pt x="64" y="21"/>
                        </a:lnTo>
                        <a:lnTo>
                          <a:pt x="64" y="21"/>
                        </a:lnTo>
                        <a:lnTo>
                          <a:pt x="64" y="20"/>
                        </a:lnTo>
                        <a:lnTo>
                          <a:pt x="69" y="20"/>
                        </a:lnTo>
                        <a:lnTo>
                          <a:pt x="70" y="20"/>
                        </a:lnTo>
                        <a:lnTo>
                          <a:pt x="70" y="20"/>
                        </a:lnTo>
                        <a:lnTo>
                          <a:pt x="71" y="20"/>
                        </a:lnTo>
                        <a:lnTo>
                          <a:pt x="71" y="20"/>
                        </a:lnTo>
                        <a:lnTo>
                          <a:pt x="72" y="20"/>
                        </a:lnTo>
                        <a:lnTo>
                          <a:pt x="72" y="20"/>
                        </a:lnTo>
                        <a:lnTo>
                          <a:pt x="72" y="20"/>
                        </a:lnTo>
                        <a:lnTo>
                          <a:pt x="73" y="20"/>
                        </a:lnTo>
                        <a:lnTo>
                          <a:pt x="73" y="20"/>
                        </a:lnTo>
                        <a:lnTo>
                          <a:pt x="73" y="20"/>
                        </a:lnTo>
                        <a:lnTo>
                          <a:pt x="74" y="19"/>
                        </a:lnTo>
                        <a:lnTo>
                          <a:pt x="74" y="19"/>
                        </a:lnTo>
                        <a:lnTo>
                          <a:pt x="74" y="18"/>
                        </a:lnTo>
                        <a:lnTo>
                          <a:pt x="74" y="18"/>
                        </a:lnTo>
                        <a:lnTo>
                          <a:pt x="74" y="17"/>
                        </a:lnTo>
                        <a:lnTo>
                          <a:pt x="74" y="15"/>
                        </a:lnTo>
                        <a:lnTo>
                          <a:pt x="74" y="14"/>
                        </a:lnTo>
                        <a:lnTo>
                          <a:pt x="74" y="14"/>
                        </a:lnTo>
                        <a:lnTo>
                          <a:pt x="75" y="13"/>
                        </a:lnTo>
                        <a:lnTo>
                          <a:pt x="75" y="13"/>
                        </a:lnTo>
                        <a:lnTo>
                          <a:pt x="75" y="12"/>
                        </a:lnTo>
                        <a:lnTo>
                          <a:pt x="76" y="12"/>
                        </a:lnTo>
                        <a:lnTo>
                          <a:pt x="76" y="12"/>
                        </a:lnTo>
                        <a:lnTo>
                          <a:pt x="77" y="12"/>
                        </a:lnTo>
                        <a:lnTo>
                          <a:pt x="78" y="12"/>
                        </a:lnTo>
                        <a:lnTo>
                          <a:pt x="79" y="12"/>
                        </a:lnTo>
                        <a:lnTo>
                          <a:pt x="79" y="12"/>
                        </a:lnTo>
                        <a:lnTo>
                          <a:pt x="80" y="12"/>
                        </a:lnTo>
                        <a:lnTo>
                          <a:pt x="80" y="13"/>
                        </a:lnTo>
                        <a:lnTo>
                          <a:pt x="80" y="13"/>
                        </a:lnTo>
                        <a:lnTo>
                          <a:pt x="80" y="13"/>
                        </a:lnTo>
                        <a:lnTo>
                          <a:pt x="80" y="13"/>
                        </a:lnTo>
                        <a:lnTo>
                          <a:pt x="81" y="13"/>
                        </a:lnTo>
                        <a:lnTo>
                          <a:pt x="81" y="13"/>
                        </a:lnTo>
                        <a:lnTo>
                          <a:pt x="81" y="13"/>
                        </a:lnTo>
                        <a:lnTo>
                          <a:pt x="82" y="13"/>
                        </a:lnTo>
                        <a:lnTo>
                          <a:pt x="82" y="13"/>
                        </a:lnTo>
                        <a:lnTo>
                          <a:pt x="82" y="13"/>
                        </a:lnTo>
                        <a:lnTo>
                          <a:pt x="82" y="13"/>
                        </a:lnTo>
                        <a:lnTo>
                          <a:pt x="83" y="13"/>
                        </a:lnTo>
                        <a:lnTo>
                          <a:pt x="83" y="12"/>
                        </a:lnTo>
                        <a:lnTo>
                          <a:pt x="83" y="12"/>
                        </a:lnTo>
                        <a:lnTo>
                          <a:pt x="83" y="11"/>
                        </a:lnTo>
                        <a:lnTo>
                          <a:pt x="83" y="11"/>
                        </a:lnTo>
                        <a:lnTo>
                          <a:pt x="84" y="11"/>
                        </a:lnTo>
                        <a:lnTo>
                          <a:pt x="85" y="11"/>
                        </a:lnTo>
                        <a:lnTo>
                          <a:pt x="85" y="10"/>
                        </a:lnTo>
                        <a:lnTo>
                          <a:pt x="86" y="10"/>
                        </a:lnTo>
                        <a:lnTo>
                          <a:pt x="88" y="10"/>
                        </a:lnTo>
                        <a:lnTo>
                          <a:pt x="89" y="10"/>
                        </a:lnTo>
                        <a:lnTo>
                          <a:pt x="90" y="10"/>
                        </a:lnTo>
                        <a:lnTo>
                          <a:pt x="90" y="10"/>
                        </a:lnTo>
                        <a:lnTo>
                          <a:pt x="91" y="10"/>
                        </a:lnTo>
                        <a:lnTo>
                          <a:pt x="92" y="10"/>
                        </a:lnTo>
                        <a:lnTo>
                          <a:pt x="92" y="10"/>
                        </a:lnTo>
                        <a:lnTo>
                          <a:pt x="93" y="9"/>
                        </a:lnTo>
                        <a:lnTo>
                          <a:pt x="93" y="9"/>
                        </a:lnTo>
                        <a:lnTo>
                          <a:pt x="93" y="9"/>
                        </a:lnTo>
                        <a:lnTo>
                          <a:pt x="94" y="8"/>
                        </a:lnTo>
                        <a:lnTo>
                          <a:pt x="94" y="8"/>
                        </a:lnTo>
                        <a:lnTo>
                          <a:pt x="95" y="7"/>
                        </a:lnTo>
                        <a:lnTo>
                          <a:pt x="96" y="7"/>
                        </a:lnTo>
                        <a:lnTo>
                          <a:pt x="96" y="6"/>
                        </a:lnTo>
                        <a:lnTo>
                          <a:pt x="97" y="5"/>
                        </a:lnTo>
                        <a:lnTo>
                          <a:pt x="97" y="5"/>
                        </a:lnTo>
                        <a:lnTo>
                          <a:pt x="98" y="4"/>
                        </a:lnTo>
                        <a:lnTo>
                          <a:pt x="98" y="4"/>
                        </a:lnTo>
                        <a:lnTo>
                          <a:pt x="99" y="3"/>
                        </a:lnTo>
                        <a:lnTo>
                          <a:pt x="99" y="3"/>
                        </a:lnTo>
                        <a:lnTo>
                          <a:pt x="100" y="3"/>
                        </a:lnTo>
                        <a:lnTo>
                          <a:pt x="100" y="2"/>
                        </a:lnTo>
                        <a:lnTo>
                          <a:pt x="101" y="2"/>
                        </a:lnTo>
                        <a:lnTo>
                          <a:pt x="101" y="2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accent1"/>
                    </a:solidFill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algn="ctr" defTabSz="914308">
                      <a:defRPr/>
                    </a:pPr>
                    <a:endParaRPr lang="en-US" sz="900" kern="0" dirty="0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latin typeface="Times New Roman" pitchFamily="18" charset="0"/>
                      <a:cs typeface="Times New Roman" pitchFamily="18" charset="0"/>
                    </a:endParaRPr>
                  </a:p>
                </p:txBody>
              </p:sp>
              <p:sp>
                <p:nvSpPr>
                  <p:cNvPr id="309" name="Freeform 6"/>
                  <p:cNvSpPr>
                    <a:spLocks/>
                  </p:cNvSpPr>
                  <p:nvPr/>
                </p:nvSpPr>
                <p:spPr bwMode="auto">
                  <a:xfrm>
                    <a:off x="4633128" y="2534620"/>
                    <a:ext cx="1496952" cy="1381222"/>
                  </a:xfrm>
                  <a:custGeom>
                    <a:avLst/>
                    <a:gdLst/>
                    <a:ahLst/>
                    <a:cxnLst>
                      <a:cxn ang="0">
                        <a:pos x="25" y="46"/>
                      </a:cxn>
                      <a:cxn ang="0">
                        <a:pos x="15" y="28"/>
                      </a:cxn>
                      <a:cxn ang="0">
                        <a:pos x="19" y="11"/>
                      </a:cxn>
                      <a:cxn ang="0">
                        <a:pos x="33" y="2"/>
                      </a:cxn>
                      <a:cxn ang="0">
                        <a:pos x="37" y="9"/>
                      </a:cxn>
                      <a:cxn ang="0">
                        <a:pos x="42" y="15"/>
                      </a:cxn>
                      <a:cxn ang="0">
                        <a:pos x="46" y="22"/>
                      </a:cxn>
                      <a:cxn ang="0">
                        <a:pos x="51" y="28"/>
                      </a:cxn>
                      <a:cxn ang="0">
                        <a:pos x="61" y="20"/>
                      </a:cxn>
                      <a:cxn ang="0">
                        <a:pos x="61" y="13"/>
                      </a:cxn>
                      <a:cxn ang="0">
                        <a:pos x="65" y="11"/>
                      </a:cxn>
                      <a:cxn ang="0">
                        <a:pos x="70" y="13"/>
                      </a:cxn>
                      <a:cxn ang="0">
                        <a:pos x="72" y="18"/>
                      </a:cxn>
                      <a:cxn ang="0">
                        <a:pos x="77" y="21"/>
                      </a:cxn>
                      <a:cxn ang="0">
                        <a:pos x="83" y="24"/>
                      </a:cxn>
                      <a:cxn ang="0">
                        <a:pos x="92" y="21"/>
                      </a:cxn>
                      <a:cxn ang="0">
                        <a:pos x="104" y="16"/>
                      </a:cxn>
                      <a:cxn ang="0">
                        <a:pos x="111" y="14"/>
                      </a:cxn>
                      <a:cxn ang="0">
                        <a:pos x="114" y="11"/>
                      </a:cxn>
                      <a:cxn ang="0">
                        <a:pos x="124" y="12"/>
                      </a:cxn>
                      <a:cxn ang="0">
                        <a:pos x="131" y="18"/>
                      </a:cxn>
                      <a:cxn ang="0">
                        <a:pos x="134" y="23"/>
                      </a:cxn>
                      <a:cxn ang="0">
                        <a:pos x="137" y="28"/>
                      </a:cxn>
                      <a:cxn ang="0">
                        <a:pos x="146" y="30"/>
                      </a:cxn>
                      <a:cxn ang="0">
                        <a:pos x="152" y="33"/>
                      </a:cxn>
                      <a:cxn ang="0">
                        <a:pos x="155" y="38"/>
                      </a:cxn>
                      <a:cxn ang="0">
                        <a:pos x="160" y="41"/>
                      </a:cxn>
                      <a:cxn ang="0">
                        <a:pos x="176" y="43"/>
                      </a:cxn>
                      <a:cxn ang="0">
                        <a:pos x="183" y="41"/>
                      </a:cxn>
                      <a:cxn ang="0">
                        <a:pos x="189" y="34"/>
                      </a:cxn>
                      <a:cxn ang="0">
                        <a:pos x="192" y="39"/>
                      </a:cxn>
                      <a:cxn ang="0">
                        <a:pos x="200" y="46"/>
                      </a:cxn>
                      <a:cxn ang="0">
                        <a:pos x="194" y="53"/>
                      </a:cxn>
                      <a:cxn ang="0">
                        <a:pos x="193" y="68"/>
                      </a:cxn>
                      <a:cxn ang="0">
                        <a:pos x="180" y="99"/>
                      </a:cxn>
                      <a:cxn ang="0">
                        <a:pos x="183" y="103"/>
                      </a:cxn>
                      <a:cxn ang="0">
                        <a:pos x="186" y="107"/>
                      </a:cxn>
                      <a:cxn ang="0">
                        <a:pos x="179" y="119"/>
                      </a:cxn>
                      <a:cxn ang="0">
                        <a:pos x="175" y="123"/>
                      </a:cxn>
                      <a:cxn ang="0">
                        <a:pos x="169" y="124"/>
                      </a:cxn>
                      <a:cxn ang="0">
                        <a:pos x="162" y="122"/>
                      </a:cxn>
                      <a:cxn ang="0">
                        <a:pos x="157" y="125"/>
                      </a:cxn>
                      <a:cxn ang="0">
                        <a:pos x="144" y="125"/>
                      </a:cxn>
                      <a:cxn ang="0">
                        <a:pos x="132" y="124"/>
                      </a:cxn>
                      <a:cxn ang="0">
                        <a:pos x="131" y="138"/>
                      </a:cxn>
                      <a:cxn ang="0">
                        <a:pos x="129" y="159"/>
                      </a:cxn>
                      <a:cxn ang="0">
                        <a:pos x="124" y="169"/>
                      </a:cxn>
                      <a:cxn ang="0">
                        <a:pos x="110" y="150"/>
                      </a:cxn>
                      <a:cxn ang="0">
                        <a:pos x="93" y="146"/>
                      </a:cxn>
                      <a:cxn ang="0">
                        <a:pos x="70" y="140"/>
                      </a:cxn>
                      <a:cxn ang="0">
                        <a:pos x="64" y="143"/>
                      </a:cxn>
                      <a:cxn ang="0">
                        <a:pos x="39" y="138"/>
                      </a:cxn>
                      <a:cxn ang="0">
                        <a:pos x="20" y="143"/>
                      </a:cxn>
                      <a:cxn ang="0">
                        <a:pos x="9" y="147"/>
                      </a:cxn>
                      <a:cxn ang="0">
                        <a:pos x="12" y="125"/>
                      </a:cxn>
                      <a:cxn ang="0">
                        <a:pos x="8" y="114"/>
                      </a:cxn>
                      <a:cxn ang="0">
                        <a:pos x="9" y="103"/>
                      </a:cxn>
                      <a:cxn ang="0">
                        <a:pos x="9" y="97"/>
                      </a:cxn>
                      <a:cxn ang="0">
                        <a:pos x="6" y="80"/>
                      </a:cxn>
                      <a:cxn ang="0">
                        <a:pos x="0" y="67"/>
                      </a:cxn>
                      <a:cxn ang="0">
                        <a:pos x="5" y="59"/>
                      </a:cxn>
                    </a:cxnLst>
                    <a:rect l="0" t="0" r="r" b="b"/>
                    <a:pathLst>
                      <a:path w="200" h="172">
                        <a:moveTo>
                          <a:pt x="11" y="52"/>
                        </a:moveTo>
                        <a:lnTo>
                          <a:pt x="12" y="52"/>
                        </a:lnTo>
                        <a:lnTo>
                          <a:pt x="14" y="52"/>
                        </a:lnTo>
                        <a:lnTo>
                          <a:pt x="15" y="52"/>
                        </a:lnTo>
                        <a:lnTo>
                          <a:pt x="16" y="52"/>
                        </a:lnTo>
                        <a:lnTo>
                          <a:pt x="18" y="52"/>
                        </a:lnTo>
                        <a:lnTo>
                          <a:pt x="19" y="51"/>
                        </a:lnTo>
                        <a:lnTo>
                          <a:pt x="20" y="51"/>
                        </a:lnTo>
                        <a:lnTo>
                          <a:pt x="21" y="50"/>
                        </a:lnTo>
                        <a:lnTo>
                          <a:pt x="21" y="50"/>
                        </a:lnTo>
                        <a:lnTo>
                          <a:pt x="22" y="49"/>
                        </a:lnTo>
                        <a:lnTo>
                          <a:pt x="23" y="48"/>
                        </a:lnTo>
                        <a:lnTo>
                          <a:pt x="24" y="48"/>
                        </a:lnTo>
                        <a:lnTo>
                          <a:pt x="24" y="47"/>
                        </a:lnTo>
                        <a:lnTo>
                          <a:pt x="25" y="46"/>
                        </a:lnTo>
                        <a:lnTo>
                          <a:pt x="25" y="45"/>
                        </a:lnTo>
                        <a:lnTo>
                          <a:pt x="26" y="44"/>
                        </a:lnTo>
                        <a:lnTo>
                          <a:pt x="26" y="43"/>
                        </a:lnTo>
                        <a:lnTo>
                          <a:pt x="25" y="42"/>
                        </a:lnTo>
                        <a:lnTo>
                          <a:pt x="25" y="40"/>
                        </a:lnTo>
                        <a:lnTo>
                          <a:pt x="25" y="39"/>
                        </a:lnTo>
                        <a:lnTo>
                          <a:pt x="24" y="38"/>
                        </a:lnTo>
                        <a:lnTo>
                          <a:pt x="23" y="37"/>
                        </a:lnTo>
                        <a:lnTo>
                          <a:pt x="23" y="35"/>
                        </a:lnTo>
                        <a:lnTo>
                          <a:pt x="22" y="34"/>
                        </a:lnTo>
                        <a:lnTo>
                          <a:pt x="21" y="33"/>
                        </a:lnTo>
                        <a:lnTo>
                          <a:pt x="19" y="31"/>
                        </a:lnTo>
                        <a:lnTo>
                          <a:pt x="17" y="30"/>
                        </a:lnTo>
                        <a:lnTo>
                          <a:pt x="16" y="29"/>
                        </a:lnTo>
                        <a:lnTo>
                          <a:pt x="15" y="28"/>
                        </a:lnTo>
                        <a:lnTo>
                          <a:pt x="15" y="27"/>
                        </a:lnTo>
                        <a:lnTo>
                          <a:pt x="14" y="25"/>
                        </a:lnTo>
                        <a:lnTo>
                          <a:pt x="14" y="24"/>
                        </a:lnTo>
                        <a:lnTo>
                          <a:pt x="14" y="23"/>
                        </a:lnTo>
                        <a:lnTo>
                          <a:pt x="14" y="22"/>
                        </a:lnTo>
                        <a:lnTo>
                          <a:pt x="14" y="21"/>
                        </a:lnTo>
                        <a:lnTo>
                          <a:pt x="14" y="19"/>
                        </a:lnTo>
                        <a:lnTo>
                          <a:pt x="14" y="18"/>
                        </a:lnTo>
                        <a:lnTo>
                          <a:pt x="15" y="17"/>
                        </a:lnTo>
                        <a:lnTo>
                          <a:pt x="15" y="17"/>
                        </a:lnTo>
                        <a:lnTo>
                          <a:pt x="15" y="16"/>
                        </a:lnTo>
                        <a:lnTo>
                          <a:pt x="16" y="15"/>
                        </a:lnTo>
                        <a:lnTo>
                          <a:pt x="17" y="13"/>
                        </a:lnTo>
                        <a:lnTo>
                          <a:pt x="18" y="12"/>
                        </a:lnTo>
                        <a:lnTo>
                          <a:pt x="19" y="11"/>
                        </a:lnTo>
                        <a:lnTo>
                          <a:pt x="20" y="9"/>
                        </a:lnTo>
                        <a:lnTo>
                          <a:pt x="21" y="8"/>
                        </a:lnTo>
                        <a:lnTo>
                          <a:pt x="22" y="7"/>
                        </a:lnTo>
                        <a:lnTo>
                          <a:pt x="24" y="5"/>
                        </a:lnTo>
                        <a:lnTo>
                          <a:pt x="25" y="4"/>
                        </a:lnTo>
                        <a:lnTo>
                          <a:pt x="26" y="3"/>
                        </a:lnTo>
                        <a:lnTo>
                          <a:pt x="28" y="2"/>
                        </a:lnTo>
                        <a:lnTo>
                          <a:pt x="29" y="1"/>
                        </a:lnTo>
                        <a:lnTo>
                          <a:pt x="30" y="0"/>
                        </a:lnTo>
                        <a:lnTo>
                          <a:pt x="31" y="0"/>
                        </a:lnTo>
                        <a:lnTo>
                          <a:pt x="31" y="1"/>
                        </a:lnTo>
                        <a:lnTo>
                          <a:pt x="32" y="1"/>
                        </a:lnTo>
                        <a:lnTo>
                          <a:pt x="32" y="1"/>
                        </a:lnTo>
                        <a:lnTo>
                          <a:pt x="33" y="2"/>
                        </a:lnTo>
                        <a:lnTo>
                          <a:pt x="33" y="2"/>
                        </a:lnTo>
                        <a:lnTo>
                          <a:pt x="33" y="3"/>
                        </a:lnTo>
                        <a:lnTo>
                          <a:pt x="34" y="4"/>
                        </a:lnTo>
                        <a:lnTo>
                          <a:pt x="34" y="5"/>
                        </a:lnTo>
                        <a:lnTo>
                          <a:pt x="35" y="6"/>
                        </a:lnTo>
                        <a:lnTo>
                          <a:pt x="35" y="7"/>
                        </a:lnTo>
                        <a:lnTo>
                          <a:pt x="36" y="7"/>
                        </a:lnTo>
                        <a:lnTo>
                          <a:pt x="36" y="7"/>
                        </a:lnTo>
                        <a:lnTo>
                          <a:pt x="36" y="8"/>
                        </a:lnTo>
                        <a:lnTo>
                          <a:pt x="36" y="8"/>
                        </a:lnTo>
                        <a:lnTo>
                          <a:pt x="36" y="8"/>
                        </a:lnTo>
                        <a:lnTo>
                          <a:pt x="36" y="9"/>
                        </a:lnTo>
                        <a:lnTo>
                          <a:pt x="36" y="9"/>
                        </a:lnTo>
                        <a:lnTo>
                          <a:pt x="37" y="9"/>
                        </a:lnTo>
                        <a:lnTo>
                          <a:pt x="37" y="9"/>
                        </a:lnTo>
                        <a:lnTo>
                          <a:pt x="37" y="9"/>
                        </a:lnTo>
                        <a:lnTo>
                          <a:pt x="38" y="10"/>
                        </a:lnTo>
                        <a:lnTo>
                          <a:pt x="38" y="10"/>
                        </a:lnTo>
                        <a:lnTo>
                          <a:pt x="38" y="11"/>
                        </a:lnTo>
                        <a:lnTo>
                          <a:pt x="39" y="11"/>
                        </a:lnTo>
                        <a:lnTo>
                          <a:pt x="39" y="12"/>
                        </a:lnTo>
                        <a:lnTo>
                          <a:pt x="40" y="13"/>
                        </a:lnTo>
                        <a:lnTo>
                          <a:pt x="40" y="13"/>
                        </a:lnTo>
                        <a:lnTo>
                          <a:pt x="41" y="14"/>
                        </a:lnTo>
                        <a:lnTo>
                          <a:pt x="40" y="14"/>
                        </a:lnTo>
                        <a:lnTo>
                          <a:pt x="40" y="15"/>
                        </a:lnTo>
                        <a:lnTo>
                          <a:pt x="41" y="15"/>
                        </a:lnTo>
                        <a:lnTo>
                          <a:pt x="41" y="15"/>
                        </a:lnTo>
                        <a:lnTo>
                          <a:pt x="41" y="15"/>
                        </a:lnTo>
                        <a:lnTo>
                          <a:pt x="41" y="15"/>
                        </a:lnTo>
                        <a:lnTo>
                          <a:pt x="42" y="15"/>
                        </a:lnTo>
                        <a:lnTo>
                          <a:pt x="42" y="15"/>
                        </a:lnTo>
                        <a:lnTo>
                          <a:pt x="42" y="16"/>
                        </a:lnTo>
                        <a:lnTo>
                          <a:pt x="42" y="16"/>
                        </a:lnTo>
                        <a:lnTo>
                          <a:pt x="43" y="17"/>
                        </a:lnTo>
                        <a:lnTo>
                          <a:pt x="43" y="18"/>
                        </a:lnTo>
                        <a:lnTo>
                          <a:pt x="44" y="18"/>
                        </a:lnTo>
                        <a:lnTo>
                          <a:pt x="44" y="19"/>
                        </a:lnTo>
                        <a:lnTo>
                          <a:pt x="45" y="19"/>
                        </a:lnTo>
                        <a:lnTo>
                          <a:pt x="45" y="20"/>
                        </a:lnTo>
                        <a:lnTo>
                          <a:pt x="46" y="20"/>
                        </a:lnTo>
                        <a:lnTo>
                          <a:pt x="45" y="21"/>
                        </a:lnTo>
                        <a:lnTo>
                          <a:pt x="45" y="21"/>
                        </a:lnTo>
                        <a:lnTo>
                          <a:pt x="46" y="21"/>
                        </a:lnTo>
                        <a:lnTo>
                          <a:pt x="46" y="22"/>
                        </a:lnTo>
                        <a:lnTo>
                          <a:pt x="46" y="22"/>
                        </a:lnTo>
                        <a:lnTo>
                          <a:pt x="46" y="22"/>
                        </a:lnTo>
                        <a:lnTo>
                          <a:pt x="47" y="22"/>
                        </a:lnTo>
                        <a:lnTo>
                          <a:pt x="47" y="22"/>
                        </a:lnTo>
                        <a:lnTo>
                          <a:pt x="47" y="23"/>
                        </a:lnTo>
                        <a:lnTo>
                          <a:pt x="48" y="23"/>
                        </a:lnTo>
                        <a:lnTo>
                          <a:pt x="48" y="24"/>
                        </a:lnTo>
                        <a:lnTo>
                          <a:pt x="48" y="24"/>
                        </a:lnTo>
                        <a:lnTo>
                          <a:pt x="49" y="25"/>
                        </a:lnTo>
                        <a:lnTo>
                          <a:pt x="49" y="25"/>
                        </a:lnTo>
                        <a:lnTo>
                          <a:pt x="50" y="26"/>
                        </a:lnTo>
                        <a:lnTo>
                          <a:pt x="50" y="26"/>
                        </a:lnTo>
                        <a:lnTo>
                          <a:pt x="51" y="27"/>
                        </a:lnTo>
                        <a:lnTo>
                          <a:pt x="50" y="28"/>
                        </a:lnTo>
                        <a:lnTo>
                          <a:pt x="50" y="28"/>
                        </a:lnTo>
                        <a:lnTo>
                          <a:pt x="51" y="28"/>
                        </a:lnTo>
                        <a:lnTo>
                          <a:pt x="51" y="28"/>
                        </a:lnTo>
                        <a:lnTo>
                          <a:pt x="51" y="29"/>
                        </a:lnTo>
                        <a:lnTo>
                          <a:pt x="51" y="29"/>
                        </a:lnTo>
                        <a:lnTo>
                          <a:pt x="52" y="29"/>
                        </a:lnTo>
                        <a:lnTo>
                          <a:pt x="52" y="29"/>
                        </a:lnTo>
                        <a:lnTo>
                          <a:pt x="53" y="28"/>
                        </a:lnTo>
                        <a:lnTo>
                          <a:pt x="55" y="27"/>
                        </a:lnTo>
                        <a:lnTo>
                          <a:pt x="56" y="26"/>
                        </a:lnTo>
                        <a:lnTo>
                          <a:pt x="57" y="25"/>
                        </a:lnTo>
                        <a:lnTo>
                          <a:pt x="58" y="24"/>
                        </a:lnTo>
                        <a:lnTo>
                          <a:pt x="59" y="23"/>
                        </a:lnTo>
                        <a:lnTo>
                          <a:pt x="60" y="22"/>
                        </a:lnTo>
                        <a:lnTo>
                          <a:pt x="61" y="20"/>
                        </a:lnTo>
                        <a:lnTo>
                          <a:pt x="61" y="20"/>
                        </a:lnTo>
                        <a:lnTo>
                          <a:pt x="61" y="20"/>
                        </a:lnTo>
                        <a:lnTo>
                          <a:pt x="61" y="20"/>
                        </a:lnTo>
                        <a:lnTo>
                          <a:pt x="61" y="20"/>
                        </a:lnTo>
                        <a:lnTo>
                          <a:pt x="61" y="20"/>
                        </a:lnTo>
                        <a:lnTo>
                          <a:pt x="62" y="20"/>
                        </a:lnTo>
                        <a:lnTo>
                          <a:pt x="62" y="19"/>
                        </a:lnTo>
                        <a:lnTo>
                          <a:pt x="61" y="19"/>
                        </a:lnTo>
                        <a:lnTo>
                          <a:pt x="61" y="19"/>
                        </a:lnTo>
                        <a:lnTo>
                          <a:pt x="61" y="19"/>
                        </a:lnTo>
                        <a:lnTo>
                          <a:pt x="61" y="19"/>
                        </a:lnTo>
                        <a:lnTo>
                          <a:pt x="61" y="18"/>
                        </a:lnTo>
                        <a:lnTo>
                          <a:pt x="61" y="17"/>
                        </a:lnTo>
                        <a:lnTo>
                          <a:pt x="60" y="16"/>
                        </a:lnTo>
                        <a:lnTo>
                          <a:pt x="60" y="15"/>
                        </a:lnTo>
                        <a:lnTo>
                          <a:pt x="61" y="14"/>
                        </a:lnTo>
                        <a:lnTo>
                          <a:pt x="61" y="13"/>
                        </a:lnTo>
                        <a:lnTo>
                          <a:pt x="61" y="13"/>
                        </a:lnTo>
                        <a:lnTo>
                          <a:pt x="61" y="13"/>
                        </a:lnTo>
                        <a:lnTo>
                          <a:pt x="61" y="12"/>
                        </a:lnTo>
                        <a:lnTo>
                          <a:pt x="62" y="12"/>
                        </a:lnTo>
                        <a:lnTo>
                          <a:pt x="62" y="12"/>
                        </a:lnTo>
                        <a:lnTo>
                          <a:pt x="63" y="12"/>
                        </a:lnTo>
                        <a:lnTo>
                          <a:pt x="63" y="12"/>
                        </a:lnTo>
                        <a:lnTo>
                          <a:pt x="63" y="12"/>
                        </a:lnTo>
                        <a:lnTo>
                          <a:pt x="64" y="12"/>
                        </a:lnTo>
                        <a:lnTo>
                          <a:pt x="64" y="11"/>
                        </a:lnTo>
                        <a:lnTo>
                          <a:pt x="64" y="11"/>
                        </a:lnTo>
                        <a:lnTo>
                          <a:pt x="64" y="11"/>
                        </a:lnTo>
                        <a:lnTo>
                          <a:pt x="64" y="11"/>
                        </a:lnTo>
                        <a:lnTo>
                          <a:pt x="64" y="11"/>
                        </a:lnTo>
                        <a:lnTo>
                          <a:pt x="65" y="11"/>
                        </a:lnTo>
                        <a:lnTo>
                          <a:pt x="65" y="11"/>
                        </a:lnTo>
                        <a:lnTo>
                          <a:pt x="66" y="11"/>
                        </a:lnTo>
                        <a:lnTo>
                          <a:pt x="65" y="11"/>
                        </a:lnTo>
                        <a:lnTo>
                          <a:pt x="65" y="11"/>
                        </a:lnTo>
                        <a:lnTo>
                          <a:pt x="66" y="12"/>
                        </a:lnTo>
                        <a:lnTo>
                          <a:pt x="66" y="12"/>
                        </a:lnTo>
                        <a:lnTo>
                          <a:pt x="66" y="12"/>
                        </a:lnTo>
                        <a:lnTo>
                          <a:pt x="66" y="12"/>
                        </a:lnTo>
                        <a:lnTo>
                          <a:pt x="67" y="12"/>
                        </a:lnTo>
                        <a:lnTo>
                          <a:pt x="67" y="12"/>
                        </a:lnTo>
                        <a:lnTo>
                          <a:pt x="68" y="12"/>
                        </a:lnTo>
                        <a:lnTo>
                          <a:pt x="69" y="12"/>
                        </a:lnTo>
                        <a:lnTo>
                          <a:pt x="69" y="12"/>
                        </a:lnTo>
                        <a:lnTo>
                          <a:pt x="70" y="13"/>
                        </a:lnTo>
                        <a:lnTo>
                          <a:pt x="70" y="13"/>
                        </a:lnTo>
                        <a:lnTo>
                          <a:pt x="70" y="13"/>
                        </a:lnTo>
                        <a:lnTo>
                          <a:pt x="71" y="14"/>
                        </a:lnTo>
                        <a:lnTo>
                          <a:pt x="71" y="14"/>
                        </a:lnTo>
                        <a:lnTo>
                          <a:pt x="71" y="14"/>
                        </a:lnTo>
                        <a:lnTo>
                          <a:pt x="71" y="15"/>
                        </a:lnTo>
                        <a:lnTo>
                          <a:pt x="71" y="15"/>
                        </a:lnTo>
                        <a:lnTo>
                          <a:pt x="71" y="16"/>
                        </a:lnTo>
                        <a:lnTo>
                          <a:pt x="71" y="16"/>
                        </a:lnTo>
                        <a:lnTo>
                          <a:pt x="71" y="16"/>
                        </a:lnTo>
                        <a:lnTo>
                          <a:pt x="71" y="17"/>
                        </a:lnTo>
                        <a:lnTo>
                          <a:pt x="71" y="17"/>
                        </a:lnTo>
                        <a:lnTo>
                          <a:pt x="71" y="17"/>
                        </a:lnTo>
                        <a:lnTo>
                          <a:pt x="72" y="17"/>
                        </a:lnTo>
                        <a:lnTo>
                          <a:pt x="72" y="17"/>
                        </a:lnTo>
                        <a:lnTo>
                          <a:pt x="72" y="18"/>
                        </a:lnTo>
                        <a:lnTo>
                          <a:pt x="72" y="18"/>
                        </a:lnTo>
                        <a:lnTo>
                          <a:pt x="73" y="18"/>
                        </a:lnTo>
                        <a:lnTo>
                          <a:pt x="73" y="18"/>
                        </a:lnTo>
                        <a:lnTo>
                          <a:pt x="73" y="19"/>
                        </a:lnTo>
                        <a:lnTo>
                          <a:pt x="74" y="19"/>
                        </a:lnTo>
                        <a:lnTo>
                          <a:pt x="75" y="19"/>
                        </a:lnTo>
                        <a:lnTo>
                          <a:pt x="75" y="19"/>
                        </a:lnTo>
                        <a:lnTo>
                          <a:pt x="76" y="19"/>
                        </a:lnTo>
                        <a:lnTo>
                          <a:pt x="76" y="19"/>
                        </a:lnTo>
                        <a:lnTo>
                          <a:pt x="77" y="19"/>
                        </a:lnTo>
                        <a:lnTo>
                          <a:pt x="77" y="20"/>
                        </a:lnTo>
                        <a:lnTo>
                          <a:pt x="77" y="20"/>
                        </a:lnTo>
                        <a:lnTo>
                          <a:pt x="77" y="20"/>
                        </a:lnTo>
                        <a:lnTo>
                          <a:pt x="77" y="21"/>
                        </a:lnTo>
                        <a:lnTo>
                          <a:pt x="77" y="21"/>
                        </a:lnTo>
                        <a:lnTo>
                          <a:pt x="77" y="21"/>
                        </a:lnTo>
                        <a:lnTo>
                          <a:pt x="77" y="22"/>
                        </a:lnTo>
                        <a:lnTo>
                          <a:pt x="78" y="22"/>
                        </a:lnTo>
                        <a:lnTo>
                          <a:pt x="78" y="22"/>
                        </a:lnTo>
                        <a:lnTo>
                          <a:pt x="78" y="22"/>
                        </a:lnTo>
                        <a:lnTo>
                          <a:pt x="79" y="22"/>
                        </a:lnTo>
                        <a:lnTo>
                          <a:pt x="79" y="22"/>
                        </a:lnTo>
                        <a:lnTo>
                          <a:pt x="79" y="23"/>
                        </a:lnTo>
                        <a:lnTo>
                          <a:pt x="79" y="23"/>
                        </a:lnTo>
                        <a:lnTo>
                          <a:pt x="79" y="23"/>
                        </a:lnTo>
                        <a:lnTo>
                          <a:pt x="80" y="24"/>
                        </a:lnTo>
                        <a:lnTo>
                          <a:pt x="81" y="24"/>
                        </a:lnTo>
                        <a:lnTo>
                          <a:pt x="82" y="24"/>
                        </a:lnTo>
                        <a:lnTo>
                          <a:pt x="83" y="24"/>
                        </a:lnTo>
                        <a:lnTo>
                          <a:pt x="83" y="24"/>
                        </a:lnTo>
                        <a:lnTo>
                          <a:pt x="84" y="24"/>
                        </a:lnTo>
                        <a:lnTo>
                          <a:pt x="85" y="24"/>
                        </a:lnTo>
                        <a:lnTo>
                          <a:pt x="86" y="24"/>
                        </a:lnTo>
                        <a:lnTo>
                          <a:pt x="87" y="24"/>
                        </a:lnTo>
                        <a:lnTo>
                          <a:pt x="88" y="23"/>
                        </a:lnTo>
                        <a:lnTo>
                          <a:pt x="89" y="23"/>
                        </a:lnTo>
                        <a:lnTo>
                          <a:pt x="90" y="23"/>
                        </a:lnTo>
                        <a:lnTo>
                          <a:pt x="90" y="22"/>
                        </a:lnTo>
                        <a:lnTo>
                          <a:pt x="90" y="22"/>
                        </a:lnTo>
                        <a:lnTo>
                          <a:pt x="90" y="22"/>
                        </a:lnTo>
                        <a:lnTo>
                          <a:pt x="91" y="22"/>
                        </a:lnTo>
                        <a:lnTo>
                          <a:pt x="91" y="22"/>
                        </a:lnTo>
                        <a:lnTo>
                          <a:pt x="92" y="22"/>
                        </a:lnTo>
                        <a:lnTo>
                          <a:pt x="92" y="22"/>
                        </a:lnTo>
                        <a:lnTo>
                          <a:pt x="92" y="21"/>
                        </a:lnTo>
                        <a:lnTo>
                          <a:pt x="92" y="21"/>
                        </a:lnTo>
                        <a:lnTo>
                          <a:pt x="92" y="21"/>
                        </a:lnTo>
                        <a:lnTo>
                          <a:pt x="92" y="20"/>
                        </a:lnTo>
                        <a:lnTo>
                          <a:pt x="94" y="21"/>
                        </a:lnTo>
                        <a:lnTo>
                          <a:pt x="95" y="21"/>
                        </a:lnTo>
                        <a:lnTo>
                          <a:pt x="96" y="21"/>
                        </a:lnTo>
                        <a:lnTo>
                          <a:pt x="97" y="21"/>
                        </a:lnTo>
                        <a:lnTo>
                          <a:pt x="98" y="20"/>
                        </a:lnTo>
                        <a:lnTo>
                          <a:pt x="99" y="20"/>
                        </a:lnTo>
                        <a:lnTo>
                          <a:pt x="100" y="20"/>
                        </a:lnTo>
                        <a:lnTo>
                          <a:pt x="100" y="19"/>
                        </a:lnTo>
                        <a:lnTo>
                          <a:pt x="101" y="19"/>
                        </a:lnTo>
                        <a:lnTo>
                          <a:pt x="102" y="18"/>
                        </a:lnTo>
                        <a:lnTo>
                          <a:pt x="103" y="17"/>
                        </a:lnTo>
                        <a:lnTo>
                          <a:pt x="104" y="16"/>
                        </a:lnTo>
                        <a:lnTo>
                          <a:pt x="105" y="16"/>
                        </a:lnTo>
                        <a:lnTo>
                          <a:pt x="106" y="15"/>
                        </a:lnTo>
                        <a:lnTo>
                          <a:pt x="106" y="16"/>
                        </a:lnTo>
                        <a:lnTo>
                          <a:pt x="107" y="16"/>
                        </a:lnTo>
                        <a:lnTo>
                          <a:pt x="107" y="15"/>
                        </a:lnTo>
                        <a:lnTo>
                          <a:pt x="108" y="15"/>
                        </a:lnTo>
                        <a:lnTo>
                          <a:pt x="108" y="15"/>
                        </a:lnTo>
                        <a:lnTo>
                          <a:pt x="108" y="15"/>
                        </a:lnTo>
                        <a:lnTo>
                          <a:pt x="109" y="14"/>
                        </a:lnTo>
                        <a:lnTo>
                          <a:pt x="109" y="14"/>
                        </a:lnTo>
                        <a:lnTo>
                          <a:pt x="109" y="14"/>
                        </a:lnTo>
                        <a:lnTo>
                          <a:pt x="110" y="14"/>
                        </a:lnTo>
                        <a:lnTo>
                          <a:pt x="110" y="14"/>
                        </a:lnTo>
                        <a:lnTo>
                          <a:pt x="111" y="14"/>
                        </a:lnTo>
                        <a:lnTo>
                          <a:pt x="111" y="14"/>
                        </a:lnTo>
                        <a:lnTo>
                          <a:pt x="111" y="14"/>
                        </a:lnTo>
                        <a:lnTo>
                          <a:pt x="112" y="14"/>
                        </a:lnTo>
                        <a:lnTo>
                          <a:pt x="112" y="13"/>
                        </a:lnTo>
                        <a:lnTo>
                          <a:pt x="112" y="13"/>
                        </a:lnTo>
                        <a:lnTo>
                          <a:pt x="112" y="13"/>
                        </a:lnTo>
                        <a:lnTo>
                          <a:pt x="112" y="12"/>
                        </a:lnTo>
                        <a:lnTo>
                          <a:pt x="112" y="12"/>
                        </a:lnTo>
                        <a:lnTo>
                          <a:pt x="112" y="12"/>
                        </a:lnTo>
                        <a:lnTo>
                          <a:pt x="112" y="11"/>
                        </a:lnTo>
                        <a:lnTo>
                          <a:pt x="112" y="11"/>
                        </a:lnTo>
                        <a:lnTo>
                          <a:pt x="112" y="11"/>
                        </a:lnTo>
                        <a:lnTo>
                          <a:pt x="113" y="11"/>
                        </a:lnTo>
                        <a:lnTo>
                          <a:pt x="113" y="10"/>
                        </a:lnTo>
                        <a:lnTo>
                          <a:pt x="113" y="10"/>
                        </a:lnTo>
                        <a:lnTo>
                          <a:pt x="114" y="11"/>
                        </a:lnTo>
                        <a:lnTo>
                          <a:pt x="116" y="11"/>
                        </a:lnTo>
                        <a:lnTo>
                          <a:pt x="119" y="11"/>
                        </a:lnTo>
                        <a:lnTo>
                          <a:pt x="119" y="11"/>
                        </a:lnTo>
                        <a:lnTo>
                          <a:pt x="120" y="11"/>
                        </a:lnTo>
                        <a:lnTo>
                          <a:pt x="120" y="11"/>
                        </a:lnTo>
                        <a:lnTo>
                          <a:pt x="121" y="11"/>
                        </a:lnTo>
                        <a:lnTo>
                          <a:pt x="122" y="11"/>
                        </a:lnTo>
                        <a:lnTo>
                          <a:pt x="122" y="11"/>
                        </a:lnTo>
                        <a:lnTo>
                          <a:pt x="122" y="11"/>
                        </a:lnTo>
                        <a:lnTo>
                          <a:pt x="122" y="12"/>
                        </a:lnTo>
                        <a:lnTo>
                          <a:pt x="122" y="12"/>
                        </a:lnTo>
                        <a:lnTo>
                          <a:pt x="123" y="12"/>
                        </a:lnTo>
                        <a:lnTo>
                          <a:pt x="123" y="12"/>
                        </a:lnTo>
                        <a:lnTo>
                          <a:pt x="123" y="12"/>
                        </a:lnTo>
                        <a:lnTo>
                          <a:pt x="124" y="12"/>
                        </a:lnTo>
                        <a:lnTo>
                          <a:pt x="125" y="12"/>
                        </a:lnTo>
                        <a:lnTo>
                          <a:pt x="125" y="12"/>
                        </a:lnTo>
                        <a:lnTo>
                          <a:pt x="126" y="12"/>
                        </a:lnTo>
                        <a:lnTo>
                          <a:pt x="126" y="12"/>
                        </a:lnTo>
                        <a:lnTo>
                          <a:pt x="127" y="13"/>
                        </a:lnTo>
                        <a:lnTo>
                          <a:pt x="127" y="13"/>
                        </a:lnTo>
                        <a:lnTo>
                          <a:pt x="128" y="13"/>
                        </a:lnTo>
                        <a:lnTo>
                          <a:pt x="128" y="14"/>
                        </a:lnTo>
                        <a:lnTo>
                          <a:pt x="129" y="14"/>
                        </a:lnTo>
                        <a:lnTo>
                          <a:pt x="129" y="15"/>
                        </a:lnTo>
                        <a:lnTo>
                          <a:pt x="130" y="16"/>
                        </a:lnTo>
                        <a:lnTo>
                          <a:pt x="131" y="17"/>
                        </a:lnTo>
                        <a:lnTo>
                          <a:pt x="130" y="18"/>
                        </a:lnTo>
                        <a:lnTo>
                          <a:pt x="130" y="18"/>
                        </a:lnTo>
                        <a:lnTo>
                          <a:pt x="131" y="18"/>
                        </a:lnTo>
                        <a:lnTo>
                          <a:pt x="131" y="18"/>
                        </a:lnTo>
                        <a:lnTo>
                          <a:pt x="131" y="19"/>
                        </a:lnTo>
                        <a:lnTo>
                          <a:pt x="131" y="19"/>
                        </a:lnTo>
                        <a:lnTo>
                          <a:pt x="132" y="19"/>
                        </a:lnTo>
                        <a:lnTo>
                          <a:pt x="132" y="19"/>
                        </a:lnTo>
                        <a:lnTo>
                          <a:pt x="132" y="19"/>
                        </a:lnTo>
                        <a:lnTo>
                          <a:pt x="132" y="20"/>
                        </a:lnTo>
                        <a:lnTo>
                          <a:pt x="133" y="20"/>
                        </a:lnTo>
                        <a:lnTo>
                          <a:pt x="133" y="20"/>
                        </a:lnTo>
                        <a:lnTo>
                          <a:pt x="133" y="21"/>
                        </a:lnTo>
                        <a:lnTo>
                          <a:pt x="134" y="22"/>
                        </a:lnTo>
                        <a:lnTo>
                          <a:pt x="134" y="22"/>
                        </a:lnTo>
                        <a:lnTo>
                          <a:pt x="134" y="23"/>
                        </a:lnTo>
                        <a:lnTo>
                          <a:pt x="134" y="23"/>
                        </a:lnTo>
                        <a:lnTo>
                          <a:pt x="134" y="23"/>
                        </a:lnTo>
                        <a:lnTo>
                          <a:pt x="134" y="23"/>
                        </a:lnTo>
                        <a:lnTo>
                          <a:pt x="134" y="24"/>
                        </a:lnTo>
                        <a:lnTo>
                          <a:pt x="135" y="24"/>
                        </a:lnTo>
                        <a:lnTo>
                          <a:pt x="135" y="24"/>
                        </a:lnTo>
                        <a:lnTo>
                          <a:pt x="136" y="24"/>
                        </a:lnTo>
                        <a:lnTo>
                          <a:pt x="136" y="24"/>
                        </a:lnTo>
                        <a:lnTo>
                          <a:pt x="136" y="25"/>
                        </a:lnTo>
                        <a:lnTo>
                          <a:pt x="136" y="25"/>
                        </a:lnTo>
                        <a:lnTo>
                          <a:pt x="136" y="26"/>
                        </a:lnTo>
                        <a:lnTo>
                          <a:pt x="137" y="26"/>
                        </a:lnTo>
                        <a:lnTo>
                          <a:pt x="137" y="27"/>
                        </a:lnTo>
                        <a:lnTo>
                          <a:pt x="137" y="27"/>
                        </a:lnTo>
                        <a:lnTo>
                          <a:pt x="137" y="28"/>
                        </a:lnTo>
                        <a:lnTo>
                          <a:pt x="137" y="28"/>
                        </a:lnTo>
                        <a:lnTo>
                          <a:pt x="137" y="28"/>
                        </a:lnTo>
                        <a:lnTo>
                          <a:pt x="137" y="28"/>
                        </a:lnTo>
                        <a:lnTo>
                          <a:pt x="138" y="29"/>
                        </a:lnTo>
                        <a:lnTo>
                          <a:pt x="138" y="29"/>
                        </a:lnTo>
                        <a:lnTo>
                          <a:pt x="138" y="29"/>
                        </a:lnTo>
                        <a:lnTo>
                          <a:pt x="139" y="29"/>
                        </a:lnTo>
                        <a:lnTo>
                          <a:pt x="140" y="29"/>
                        </a:lnTo>
                        <a:lnTo>
                          <a:pt x="142" y="29"/>
                        </a:lnTo>
                        <a:lnTo>
                          <a:pt x="144" y="29"/>
                        </a:lnTo>
                        <a:lnTo>
                          <a:pt x="145" y="29"/>
                        </a:lnTo>
                        <a:lnTo>
                          <a:pt x="145" y="29"/>
                        </a:lnTo>
                        <a:lnTo>
                          <a:pt x="145" y="29"/>
                        </a:lnTo>
                        <a:lnTo>
                          <a:pt x="145" y="30"/>
                        </a:lnTo>
                        <a:lnTo>
                          <a:pt x="146" y="30"/>
                        </a:lnTo>
                        <a:lnTo>
                          <a:pt x="146" y="30"/>
                        </a:lnTo>
                        <a:lnTo>
                          <a:pt x="146" y="30"/>
                        </a:lnTo>
                        <a:lnTo>
                          <a:pt x="147" y="30"/>
                        </a:lnTo>
                        <a:lnTo>
                          <a:pt x="147" y="30"/>
                        </a:lnTo>
                        <a:lnTo>
                          <a:pt x="148" y="30"/>
                        </a:lnTo>
                        <a:lnTo>
                          <a:pt x="149" y="30"/>
                        </a:lnTo>
                        <a:lnTo>
                          <a:pt x="150" y="30"/>
                        </a:lnTo>
                        <a:lnTo>
                          <a:pt x="151" y="30"/>
                        </a:lnTo>
                        <a:lnTo>
                          <a:pt x="150" y="31"/>
                        </a:lnTo>
                        <a:lnTo>
                          <a:pt x="150" y="31"/>
                        </a:lnTo>
                        <a:lnTo>
                          <a:pt x="151" y="31"/>
                        </a:lnTo>
                        <a:lnTo>
                          <a:pt x="151" y="32"/>
                        </a:lnTo>
                        <a:lnTo>
                          <a:pt x="151" y="32"/>
                        </a:lnTo>
                        <a:lnTo>
                          <a:pt x="151" y="32"/>
                        </a:lnTo>
                        <a:lnTo>
                          <a:pt x="152" y="32"/>
                        </a:lnTo>
                        <a:lnTo>
                          <a:pt x="152" y="32"/>
                        </a:lnTo>
                        <a:lnTo>
                          <a:pt x="152" y="33"/>
                        </a:lnTo>
                        <a:lnTo>
                          <a:pt x="152" y="33"/>
                        </a:lnTo>
                        <a:lnTo>
                          <a:pt x="153" y="33"/>
                        </a:lnTo>
                        <a:lnTo>
                          <a:pt x="153" y="34"/>
                        </a:lnTo>
                        <a:lnTo>
                          <a:pt x="153" y="35"/>
                        </a:lnTo>
                        <a:lnTo>
                          <a:pt x="154" y="35"/>
                        </a:lnTo>
                        <a:lnTo>
                          <a:pt x="154" y="35"/>
                        </a:lnTo>
                        <a:lnTo>
                          <a:pt x="154" y="36"/>
                        </a:lnTo>
                        <a:lnTo>
                          <a:pt x="154" y="36"/>
                        </a:lnTo>
                        <a:lnTo>
                          <a:pt x="154" y="37"/>
                        </a:lnTo>
                        <a:lnTo>
                          <a:pt x="154" y="37"/>
                        </a:lnTo>
                        <a:lnTo>
                          <a:pt x="154" y="37"/>
                        </a:lnTo>
                        <a:lnTo>
                          <a:pt x="155" y="37"/>
                        </a:lnTo>
                        <a:lnTo>
                          <a:pt x="155" y="37"/>
                        </a:lnTo>
                        <a:lnTo>
                          <a:pt x="155" y="37"/>
                        </a:lnTo>
                        <a:lnTo>
                          <a:pt x="155" y="38"/>
                        </a:lnTo>
                        <a:lnTo>
                          <a:pt x="156" y="38"/>
                        </a:lnTo>
                        <a:lnTo>
                          <a:pt x="156" y="38"/>
                        </a:lnTo>
                        <a:lnTo>
                          <a:pt x="156" y="39"/>
                        </a:lnTo>
                        <a:lnTo>
                          <a:pt x="156" y="39"/>
                        </a:lnTo>
                        <a:lnTo>
                          <a:pt x="157" y="39"/>
                        </a:lnTo>
                        <a:lnTo>
                          <a:pt x="157" y="39"/>
                        </a:lnTo>
                        <a:lnTo>
                          <a:pt x="157" y="39"/>
                        </a:lnTo>
                        <a:lnTo>
                          <a:pt x="157" y="39"/>
                        </a:lnTo>
                        <a:lnTo>
                          <a:pt x="157" y="40"/>
                        </a:lnTo>
                        <a:lnTo>
                          <a:pt x="157" y="40"/>
                        </a:lnTo>
                        <a:lnTo>
                          <a:pt x="158" y="40"/>
                        </a:lnTo>
                        <a:lnTo>
                          <a:pt x="158" y="40"/>
                        </a:lnTo>
                        <a:lnTo>
                          <a:pt x="158" y="40"/>
                        </a:lnTo>
                        <a:lnTo>
                          <a:pt x="159" y="40"/>
                        </a:lnTo>
                        <a:lnTo>
                          <a:pt x="160" y="41"/>
                        </a:lnTo>
                        <a:lnTo>
                          <a:pt x="160" y="41"/>
                        </a:lnTo>
                        <a:lnTo>
                          <a:pt x="161" y="42"/>
                        </a:lnTo>
                        <a:lnTo>
                          <a:pt x="162" y="42"/>
                        </a:lnTo>
                        <a:lnTo>
                          <a:pt x="163" y="42"/>
                        </a:lnTo>
                        <a:lnTo>
                          <a:pt x="164" y="42"/>
                        </a:lnTo>
                        <a:lnTo>
                          <a:pt x="165" y="42"/>
                        </a:lnTo>
                        <a:lnTo>
                          <a:pt x="166" y="42"/>
                        </a:lnTo>
                        <a:lnTo>
                          <a:pt x="168" y="42"/>
                        </a:lnTo>
                        <a:lnTo>
                          <a:pt x="171" y="42"/>
                        </a:lnTo>
                        <a:lnTo>
                          <a:pt x="173" y="42"/>
                        </a:lnTo>
                        <a:lnTo>
                          <a:pt x="174" y="42"/>
                        </a:lnTo>
                        <a:lnTo>
                          <a:pt x="176" y="42"/>
                        </a:lnTo>
                        <a:lnTo>
                          <a:pt x="176" y="42"/>
                        </a:lnTo>
                        <a:lnTo>
                          <a:pt x="176" y="43"/>
                        </a:lnTo>
                        <a:lnTo>
                          <a:pt x="176" y="43"/>
                        </a:lnTo>
                        <a:lnTo>
                          <a:pt x="176" y="43"/>
                        </a:lnTo>
                        <a:lnTo>
                          <a:pt x="176" y="43"/>
                        </a:lnTo>
                        <a:lnTo>
                          <a:pt x="176" y="43"/>
                        </a:lnTo>
                        <a:lnTo>
                          <a:pt x="176" y="43"/>
                        </a:lnTo>
                        <a:lnTo>
                          <a:pt x="177" y="43"/>
                        </a:lnTo>
                        <a:lnTo>
                          <a:pt x="177" y="43"/>
                        </a:lnTo>
                        <a:lnTo>
                          <a:pt x="177" y="42"/>
                        </a:lnTo>
                        <a:lnTo>
                          <a:pt x="177" y="42"/>
                        </a:lnTo>
                        <a:lnTo>
                          <a:pt x="178" y="42"/>
                        </a:lnTo>
                        <a:lnTo>
                          <a:pt x="179" y="42"/>
                        </a:lnTo>
                        <a:lnTo>
                          <a:pt x="180" y="42"/>
                        </a:lnTo>
                        <a:lnTo>
                          <a:pt x="181" y="42"/>
                        </a:lnTo>
                        <a:lnTo>
                          <a:pt x="182" y="42"/>
                        </a:lnTo>
                        <a:lnTo>
                          <a:pt x="182" y="41"/>
                        </a:lnTo>
                        <a:lnTo>
                          <a:pt x="183" y="41"/>
                        </a:lnTo>
                        <a:lnTo>
                          <a:pt x="184" y="40"/>
                        </a:lnTo>
                        <a:lnTo>
                          <a:pt x="184" y="40"/>
                        </a:lnTo>
                        <a:lnTo>
                          <a:pt x="185" y="39"/>
                        </a:lnTo>
                        <a:lnTo>
                          <a:pt x="185" y="38"/>
                        </a:lnTo>
                        <a:lnTo>
                          <a:pt x="186" y="37"/>
                        </a:lnTo>
                        <a:lnTo>
                          <a:pt x="187" y="35"/>
                        </a:lnTo>
                        <a:lnTo>
                          <a:pt x="188" y="36"/>
                        </a:lnTo>
                        <a:lnTo>
                          <a:pt x="188" y="35"/>
                        </a:lnTo>
                        <a:lnTo>
                          <a:pt x="188" y="35"/>
                        </a:lnTo>
                        <a:lnTo>
                          <a:pt x="188" y="35"/>
                        </a:lnTo>
                        <a:lnTo>
                          <a:pt x="189" y="35"/>
                        </a:lnTo>
                        <a:lnTo>
                          <a:pt x="189" y="34"/>
                        </a:lnTo>
                        <a:lnTo>
                          <a:pt x="189" y="34"/>
                        </a:lnTo>
                        <a:lnTo>
                          <a:pt x="189" y="34"/>
                        </a:lnTo>
                        <a:lnTo>
                          <a:pt x="189" y="34"/>
                        </a:lnTo>
                        <a:lnTo>
                          <a:pt x="190" y="34"/>
                        </a:lnTo>
                        <a:lnTo>
                          <a:pt x="190" y="34"/>
                        </a:lnTo>
                        <a:lnTo>
                          <a:pt x="190" y="35"/>
                        </a:lnTo>
                        <a:lnTo>
                          <a:pt x="190" y="35"/>
                        </a:lnTo>
                        <a:lnTo>
                          <a:pt x="190" y="36"/>
                        </a:lnTo>
                        <a:lnTo>
                          <a:pt x="190" y="36"/>
                        </a:lnTo>
                        <a:lnTo>
                          <a:pt x="190" y="37"/>
                        </a:lnTo>
                        <a:lnTo>
                          <a:pt x="190" y="38"/>
                        </a:lnTo>
                        <a:lnTo>
                          <a:pt x="190" y="38"/>
                        </a:lnTo>
                        <a:lnTo>
                          <a:pt x="190" y="38"/>
                        </a:lnTo>
                        <a:lnTo>
                          <a:pt x="191" y="38"/>
                        </a:lnTo>
                        <a:lnTo>
                          <a:pt x="191" y="39"/>
                        </a:lnTo>
                        <a:lnTo>
                          <a:pt x="191" y="39"/>
                        </a:lnTo>
                        <a:lnTo>
                          <a:pt x="192" y="39"/>
                        </a:lnTo>
                        <a:lnTo>
                          <a:pt x="192" y="39"/>
                        </a:lnTo>
                        <a:lnTo>
                          <a:pt x="193" y="39"/>
                        </a:lnTo>
                        <a:lnTo>
                          <a:pt x="193" y="39"/>
                        </a:lnTo>
                        <a:lnTo>
                          <a:pt x="194" y="39"/>
                        </a:lnTo>
                        <a:lnTo>
                          <a:pt x="194" y="39"/>
                        </a:lnTo>
                        <a:lnTo>
                          <a:pt x="195" y="40"/>
                        </a:lnTo>
                        <a:lnTo>
                          <a:pt x="196" y="41"/>
                        </a:lnTo>
                        <a:lnTo>
                          <a:pt x="197" y="41"/>
                        </a:lnTo>
                        <a:lnTo>
                          <a:pt x="197" y="42"/>
                        </a:lnTo>
                        <a:lnTo>
                          <a:pt x="198" y="43"/>
                        </a:lnTo>
                        <a:lnTo>
                          <a:pt x="199" y="44"/>
                        </a:lnTo>
                        <a:lnTo>
                          <a:pt x="199" y="44"/>
                        </a:lnTo>
                        <a:lnTo>
                          <a:pt x="199" y="45"/>
                        </a:lnTo>
                        <a:lnTo>
                          <a:pt x="199" y="45"/>
                        </a:lnTo>
                        <a:lnTo>
                          <a:pt x="199" y="45"/>
                        </a:lnTo>
                        <a:lnTo>
                          <a:pt x="200" y="46"/>
                        </a:lnTo>
                        <a:lnTo>
                          <a:pt x="200" y="47"/>
                        </a:lnTo>
                        <a:lnTo>
                          <a:pt x="200" y="47"/>
                        </a:lnTo>
                        <a:lnTo>
                          <a:pt x="200" y="47"/>
                        </a:lnTo>
                        <a:lnTo>
                          <a:pt x="199" y="47"/>
                        </a:lnTo>
                        <a:lnTo>
                          <a:pt x="198" y="47"/>
                        </a:lnTo>
                        <a:lnTo>
                          <a:pt x="198" y="47"/>
                        </a:lnTo>
                        <a:lnTo>
                          <a:pt x="197" y="48"/>
                        </a:lnTo>
                        <a:lnTo>
                          <a:pt x="197" y="48"/>
                        </a:lnTo>
                        <a:lnTo>
                          <a:pt x="196" y="48"/>
                        </a:lnTo>
                        <a:lnTo>
                          <a:pt x="196" y="48"/>
                        </a:lnTo>
                        <a:lnTo>
                          <a:pt x="195" y="49"/>
                        </a:lnTo>
                        <a:lnTo>
                          <a:pt x="195" y="50"/>
                        </a:lnTo>
                        <a:lnTo>
                          <a:pt x="194" y="51"/>
                        </a:lnTo>
                        <a:lnTo>
                          <a:pt x="194" y="52"/>
                        </a:lnTo>
                        <a:lnTo>
                          <a:pt x="194" y="53"/>
                        </a:lnTo>
                        <a:lnTo>
                          <a:pt x="194" y="54"/>
                        </a:lnTo>
                        <a:lnTo>
                          <a:pt x="194" y="54"/>
                        </a:lnTo>
                        <a:lnTo>
                          <a:pt x="195" y="55"/>
                        </a:lnTo>
                        <a:lnTo>
                          <a:pt x="196" y="56"/>
                        </a:lnTo>
                        <a:lnTo>
                          <a:pt x="196" y="58"/>
                        </a:lnTo>
                        <a:lnTo>
                          <a:pt x="197" y="58"/>
                        </a:lnTo>
                        <a:lnTo>
                          <a:pt x="197" y="59"/>
                        </a:lnTo>
                        <a:lnTo>
                          <a:pt x="197" y="60"/>
                        </a:lnTo>
                        <a:lnTo>
                          <a:pt x="197" y="61"/>
                        </a:lnTo>
                        <a:lnTo>
                          <a:pt x="198" y="62"/>
                        </a:lnTo>
                        <a:lnTo>
                          <a:pt x="198" y="63"/>
                        </a:lnTo>
                        <a:lnTo>
                          <a:pt x="197" y="64"/>
                        </a:lnTo>
                        <a:lnTo>
                          <a:pt x="197" y="65"/>
                        </a:lnTo>
                        <a:lnTo>
                          <a:pt x="195" y="67"/>
                        </a:lnTo>
                        <a:lnTo>
                          <a:pt x="193" y="68"/>
                        </a:lnTo>
                        <a:lnTo>
                          <a:pt x="188" y="71"/>
                        </a:lnTo>
                        <a:lnTo>
                          <a:pt x="186" y="72"/>
                        </a:lnTo>
                        <a:lnTo>
                          <a:pt x="184" y="73"/>
                        </a:lnTo>
                        <a:lnTo>
                          <a:pt x="181" y="74"/>
                        </a:lnTo>
                        <a:lnTo>
                          <a:pt x="179" y="75"/>
                        </a:lnTo>
                        <a:lnTo>
                          <a:pt x="179" y="79"/>
                        </a:lnTo>
                        <a:lnTo>
                          <a:pt x="179" y="82"/>
                        </a:lnTo>
                        <a:lnTo>
                          <a:pt x="179" y="85"/>
                        </a:lnTo>
                        <a:lnTo>
                          <a:pt x="179" y="88"/>
                        </a:lnTo>
                        <a:lnTo>
                          <a:pt x="179" y="91"/>
                        </a:lnTo>
                        <a:lnTo>
                          <a:pt x="179" y="93"/>
                        </a:lnTo>
                        <a:lnTo>
                          <a:pt x="180" y="96"/>
                        </a:lnTo>
                        <a:lnTo>
                          <a:pt x="181" y="99"/>
                        </a:lnTo>
                        <a:lnTo>
                          <a:pt x="180" y="99"/>
                        </a:lnTo>
                        <a:lnTo>
                          <a:pt x="180" y="99"/>
                        </a:lnTo>
                        <a:lnTo>
                          <a:pt x="181" y="100"/>
                        </a:lnTo>
                        <a:lnTo>
                          <a:pt x="181" y="100"/>
                        </a:lnTo>
                        <a:lnTo>
                          <a:pt x="181" y="100"/>
                        </a:lnTo>
                        <a:lnTo>
                          <a:pt x="181" y="100"/>
                        </a:lnTo>
                        <a:lnTo>
                          <a:pt x="182" y="100"/>
                        </a:lnTo>
                        <a:lnTo>
                          <a:pt x="182" y="100"/>
                        </a:lnTo>
                        <a:lnTo>
                          <a:pt x="182" y="101"/>
                        </a:lnTo>
                        <a:lnTo>
                          <a:pt x="182" y="101"/>
                        </a:lnTo>
                        <a:lnTo>
                          <a:pt x="182" y="102"/>
                        </a:lnTo>
                        <a:lnTo>
                          <a:pt x="182" y="102"/>
                        </a:lnTo>
                        <a:lnTo>
                          <a:pt x="182" y="102"/>
                        </a:lnTo>
                        <a:lnTo>
                          <a:pt x="182" y="103"/>
                        </a:lnTo>
                        <a:lnTo>
                          <a:pt x="182" y="103"/>
                        </a:lnTo>
                        <a:lnTo>
                          <a:pt x="182" y="103"/>
                        </a:lnTo>
                        <a:lnTo>
                          <a:pt x="183" y="103"/>
                        </a:lnTo>
                        <a:lnTo>
                          <a:pt x="183" y="103"/>
                        </a:lnTo>
                        <a:lnTo>
                          <a:pt x="183" y="104"/>
                        </a:lnTo>
                        <a:lnTo>
                          <a:pt x="184" y="104"/>
                        </a:lnTo>
                        <a:lnTo>
                          <a:pt x="184" y="104"/>
                        </a:lnTo>
                        <a:lnTo>
                          <a:pt x="184" y="104"/>
                        </a:lnTo>
                        <a:lnTo>
                          <a:pt x="184" y="105"/>
                        </a:lnTo>
                        <a:lnTo>
                          <a:pt x="184" y="105"/>
                        </a:lnTo>
                        <a:lnTo>
                          <a:pt x="184" y="106"/>
                        </a:lnTo>
                        <a:lnTo>
                          <a:pt x="184" y="106"/>
                        </a:lnTo>
                        <a:lnTo>
                          <a:pt x="184" y="106"/>
                        </a:lnTo>
                        <a:lnTo>
                          <a:pt x="184" y="107"/>
                        </a:lnTo>
                        <a:lnTo>
                          <a:pt x="184" y="107"/>
                        </a:lnTo>
                        <a:lnTo>
                          <a:pt x="185" y="107"/>
                        </a:lnTo>
                        <a:lnTo>
                          <a:pt x="185" y="107"/>
                        </a:lnTo>
                        <a:lnTo>
                          <a:pt x="186" y="107"/>
                        </a:lnTo>
                        <a:lnTo>
                          <a:pt x="186" y="109"/>
                        </a:lnTo>
                        <a:lnTo>
                          <a:pt x="186" y="111"/>
                        </a:lnTo>
                        <a:lnTo>
                          <a:pt x="186" y="113"/>
                        </a:lnTo>
                        <a:lnTo>
                          <a:pt x="186" y="115"/>
                        </a:lnTo>
                        <a:lnTo>
                          <a:pt x="185" y="115"/>
                        </a:lnTo>
                        <a:lnTo>
                          <a:pt x="184" y="116"/>
                        </a:lnTo>
                        <a:lnTo>
                          <a:pt x="184" y="116"/>
                        </a:lnTo>
                        <a:lnTo>
                          <a:pt x="183" y="116"/>
                        </a:lnTo>
                        <a:lnTo>
                          <a:pt x="183" y="117"/>
                        </a:lnTo>
                        <a:lnTo>
                          <a:pt x="183" y="117"/>
                        </a:lnTo>
                        <a:lnTo>
                          <a:pt x="183" y="118"/>
                        </a:lnTo>
                        <a:lnTo>
                          <a:pt x="182" y="119"/>
                        </a:lnTo>
                        <a:lnTo>
                          <a:pt x="181" y="119"/>
                        </a:lnTo>
                        <a:lnTo>
                          <a:pt x="180" y="119"/>
                        </a:lnTo>
                        <a:lnTo>
                          <a:pt x="179" y="119"/>
                        </a:lnTo>
                        <a:lnTo>
                          <a:pt x="179" y="119"/>
                        </a:lnTo>
                        <a:lnTo>
                          <a:pt x="179" y="119"/>
                        </a:lnTo>
                        <a:lnTo>
                          <a:pt x="178" y="119"/>
                        </a:lnTo>
                        <a:lnTo>
                          <a:pt x="178" y="119"/>
                        </a:lnTo>
                        <a:lnTo>
                          <a:pt x="178" y="119"/>
                        </a:lnTo>
                        <a:lnTo>
                          <a:pt x="177" y="119"/>
                        </a:lnTo>
                        <a:lnTo>
                          <a:pt x="177" y="119"/>
                        </a:lnTo>
                        <a:lnTo>
                          <a:pt x="177" y="119"/>
                        </a:lnTo>
                        <a:lnTo>
                          <a:pt x="177" y="120"/>
                        </a:lnTo>
                        <a:lnTo>
                          <a:pt x="177" y="120"/>
                        </a:lnTo>
                        <a:lnTo>
                          <a:pt x="177" y="121"/>
                        </a:lnTo>
                        <a:lnTo>
                          <a:pt x="177" y="121"/>
                        </a:lnTo>
                        <a:lnTo>
                          <a:pt x="176" y="122"/>
                        </a:lnTo>
                        <a:lnTo>
                          <a:pt x="176" y="122"/>
                        </a:lnTo>
                        <a:lnTo>
                          <a:pt x="175" y="123"/>
                        </a:lnTo>
                        <a:lnTo>
                          <a:pt x="175" y="123"/>
                        </a:lnTo>
                        <a:lnTo>
                          <a:pt x="174" y="124"/>
                        </a:lnTo>
                        <a:lnTo>
                          <a:pt x="174" y="125"/>
                        </a:lnTo>
                        <a:lnTo>
                          <a:pt x="174" y="125"/>
                        </a:lnTo>
                        <a:lnTo>
                          <a:pt x="174" y="125"/>
                        </a:lnTo>
                        <a:lnTo>
                          <a:pt x="173" y="125"/>
                        </a:lnTo>
                        <a:lnTo>
                          <a:pt x="173" y="125"/>
                        </a:lnTo>
                        <a:lnTo>
                          <a:pt x="173" y="125"/>
                        </a:lnTo>
                        <a:lnTo>
                          <a:pt x="172" y="125"/>
                        </a:lnTo>
                        <a:lnTo>
                          <a:pt x="172" y="125"/>
                        </a:lnTo>
                        <a:lnTo>
                          <a:pt x="171" y="125"/>
                        </a:lnTo>
                        <a:lnTo>
                          <a:pt x="171" y="125"/>
                        </a:lnTo>
                        <a:lnTo>
                          <a:pt x="170" y="125"/>
                        </a:lnTo>
                        <a:lnTo>
                          <a:pt x="170" y="124"/>
                        </a:lnTo>
                        <a:lnTo>
                          <a:pt x="169" y="124"/>
                        </a:lnTo>
                        <a:lnTo>
                          <a:pt x="169" y="124"/>
                        </a:lnTo>
                        <a:lnTo>
                          <a:pt x="169" y="123"/>
                        </a:lnTo>
                        <a:lnTo>
                          <a:pt x="169" y="123"/>
                        </a:lnTo>
                        <a:lnTo>
                          <a:pt x="168" y="123"/>
                        </a:lnTo>
                        <a:lnTo>
                          <a:pt x="168" y="122"/>
                        </a:lnTo>
                        <a:lnTo>
                          <a:pt x="168" y="122"/>
                        </a:lnTo>
                        <a:lnTo>
                          <a:pt x="167" y="122"/>
                        </a:lnTo>
                        <a:lnTo>
                          <a:pt x="166" y="122"/>
                        </a:lnTo>
                        <a:lnTo>
                          <a:pt x="165" y="122"/>
                        </a:lnTo>
                        <a:lnTo>
                          <a:pt x="164" y="122"/>
                        </a:lnTo>
                        <a:lnTo>
                          <a:pt x="163" y="122"/>
                        </a:lnTo>
                        <a:lnTo>
                          <a:pt x="163" y="122"/>
                        </a:lnTo>
                        <a:lnTo>
                          <a:pt x="163" y="122"/>
                        </a:lnTo>
                        <a:lnTo>
                          <a:pt x="162" y="122"/>
                        </a:lnTo>
                        <a:lnTo>
                          <a:pt x="162" y="122"/>
                        </a:lnTo>
                        <a:lnTo>
                          <a:pt x="162" y="123"/>
                        </a:lnTo>
                        <a:lnTo>
                          <a:pt x="162" y="123"/>
                        </a:lnTo>
                        <a:lnTo>
                          <a:pt x="162" y="124"/>
                        </a:lnTo>
                        <a:lnTo>
                          <a:pt x="161" y="124"/>
                        </a:lnTo>
                        <a:lnTo>
                          <a:pt x="160" y="124"/>
                        </a:lnTo>
                        <a:lnTo>
                          <a:pt x="160" y="124"/>
                        </a:lnTo>
                        <a:lnTo>
                          <a:pt x="159" y="124"/>
                        </a:lnTo>
                        <a:lnTo>
                          <a:pt x="158" y="123"/>
                        </a:lnTo>
                        <a:lnTo>
                          <a:pt x="158" y="123"/>
                        </a:lnTo>
                        <a:lnTo>
                          <a:pt x="158" y="124"/>
                        </a:lnTo>
                        <a:lnTo>
                          <a:pt x="157" y="124"/>
                        </a:lnTo>
                        <a:lnTo>
                          <a:pt x="157" y="124"/>
                        </a:lnTo>
                        <a:lnTo>
                          <a:pt x="157" y="124"/>
                        </a:lnTo>
                        <a:lnTo>
                          <a:pt x="157" y="125"/>
                        </a:lnTo>
                        <a:lnTo>
                          <a:pt x="157" y="125"/>
                        </a:lnTo>
                        <a:lnTo>
                          <a:pt x="156" y="125"/>
                        </a:lnTo>
                        <a:lnTo>
                          <a:pt x="155" y="125"/>
                        </a:lnTo>
                        <a:lnTo>
                          <a:pt x="155" y="125"/>
                        </a:lnTo>
                        <a:lnTo>
                          <a:pt x="154" y="125"/>
                        </a:lnTo>
                        <a:lnTo>
                          <a:pt x="154" y="125"/>
                        </a:lnTo>
                        <a:lnTo>
                          <a:pt x="153" y="125"/>
                        </a:lnTo>
                        <a:lnTo>
                          <a:pt x="152" y="125"/>
                        </a:lnTo>
                        <a:lnTo>
                          <a:pt x="151" y="125"/>
                        </a:lnTo>
                        <a:lnTo>
                          <a:pt x="151" y="125"/>
                        </a:lnTo>
                        <a:lnTo>
                          <a:pt x="149" y="125"/>
                        </a:lnTo>
                        <a:lnTo>
                          <a:pt x="148" y="126"/>
                        </a:lnTo>
                        <a:lnTo>
                          <a:pt x="147" y="126"/>
                        </a:lnTo>
                        <a:lnTo>
                          <a:pt x="146" y="125"/>
                        </a:lnTo>
                        <a:lnTo>
                          <a:pt x="145" y="125"/>
                        </a:lnTo>
                        <a:lnTo>
                          <a:pt x="144" y="125"/>
                        </a:lnTo>
                        <a:lnTo>
                          <a:pt x="143" y="125"/>
                        </a:lnTo>
                        <a:lnTo>
                          <a:pt x="142" y="124"/>
                        </a:lnTo>
                        <a:lnTo>
                          <a:pt x="141" y="124"/>
                        </a:lnTo>
                        <a:lnTo>
                          <a:pt x="139" y="123"/>
                        </a:lnTo>
                        <a:lnTo>
                          <a:pt x="138" y="123"/>
                        </a:lnTo>
                        <a:lnTo>
                          <a:pt x="137" y="122"/>
                        </a:lnTo>
                        <a:lnTo>
                          <a:pt x="137" y="122"/>
                        </a:lnTo>
                        <a:lnTo>
                          <a:pt x="136" y="122"/>
                        </a:lnTo>
                        <a:lnTo>
                          <a:pt x="135" y="122"/>
                        </a:lnTo>
                        <a:lnTo>
                          <a:pt x="135" y="122"/>
                        </a:lnTo>
                        <a:lnTo>
                          <a:pt x="134" y="122"/>
                        </a:lnTo>
                        <a:lnTo>
                          <a:pt x="134" y="122"/>
                        </a:lnTo>
                        <a:lnTo>
                          <a:pt x="133" y="123"/>
                        </a:lnTo>
                        <a:lnTo>
                          <a:pt x="133" y="124"/>
                        </a:lnTo>
                        <a:lnTo>
                          <a:pt x="132" y="124"/>
                        </a:lnTo>
                        <a:lnTo>
                          <a:pt x="132" y="125"/>
                        </a:lnTo>
                        <a:lnTo>
                          <a:pt x="132" y="126"/>
                        </a:lnTo>
                        <a:lnTo>
                          <a:pt x="132" y="127"/>
                        </a:lnTo>
                        <a:lnTo>
                          <a:pt x="132" y="129"/>
                        </a:lnTo>
                        <a:lnTo>
                          <a:pt x="132" y="130"/>
                        </a:lnTo>
                        <a:lnTo>
                          <a:pt x="132" y="132"/>
                        </a:lnTo>
                        <a:lnTo>
                          <a:pt x="132" y="134"/>
                        </a:lnTo>
                        <a:lnTo>
                          <a:pt x="132" y="135"/>
                        </a:lnTo>
                        <a:lnTo>
                          <a:pt x="132" y="136"/>
                        </a:lnTo>
                        <a:lnTo>
                          <a:pt x="132" y="137"/>
                        </a:lnTo>
                        <a:lnTo>
                          <a:pt x="132" y="137"/>
                        </a:lnTo>
                        <a:lnTo>
                          <a:pt x="132" y="137"/>
                        </a:lnTo>
                        <a:lnTo>
                          <a:pt x="131" y="137"/>
                        </a:lnTo>
                        <a:lnTo>
                          <a:pt x="131" y="138"/>
                        </a:lnTo>
                        <a:lnTo>
                          <a:pt x="131" y="138"/>
                        </a:lnTo>
                        <a:lnTo>
                          <a:pt x="131" y="139"/>
                        </a:lnTo>
                        <a:lnTo>
                          <a:pt x="131" y="139"/>
                        </a:lnTo>
                        <a:lnTo>
                          <a:pt x="131" y="140"/>
                        </a:lnTo>
                        <a:lnTo>
                          <a:pt x="131" y="140"/>
                        </a:lnTo>
                        <a:lnTo>
                          <a:pt x="131" y="144"/>
                        </a:lnTo>
                        <a:lnTo>
                          <a:pt x="131" y="149"/>
                        </a:lnTo>
                        <a:lnTo>
                          <a:pt x="131" y="153"/>
                        </a:lnTo>
                        <a:lnTo>
                          <a:pt x="131" y="157"/>
                        </a:lnTo>
                        <a:lnTo>
                          <a:pt x="130" y="157"/>
                        </a:lnTo>
                        <a:lnTo>
                          <a:pt x="130" y="157"/>
                        </a:lnTo>
                        <a:lnTo>
                          <a:pt x="130" y="157"/>
                        </a:lnTo>
                        <a:lnTo>
                          <a:pt x="129" y="158"/>
                        </a:lnTo>
                        <a:lnTo>
                          <a:pt x="129" y="158"/>
                        </a:lnTo>
                        <a:lnTo>
                          <a:pt x="129" y="159"/>
                        </a:lnTo>
                        <a:lnTo>
                          <a:pt x="129" y="159"/>
                        </a:lnTo>
                        <a:lnTo>
                          <a:pt x="129" y="160"/>
                        </a:lnTo>
                        <a:lnTo>
                          <a:pt x="129" y="160"/>
                        </a:lnTo>
                        <a:lnTo>
                          <a:pt x="129" y="162"/>
                        </a:lnTo>
                        <a:lnTo>
                          <a:pt x="129" y="163"/>
                        </a:lnTo>
                        <a:lnTo>
                          <a:pt x="129" y="166"/>
                        </a:lnTo>
                        <a:lnTo>
                          <a:pt x="129" y="169"/>
                        </a:lnTo>
                        <a:lnTo>
                          <a:pt x="129" y="170"/>
                        </a:lnTo>
                        <a:lnTo>
                          <a:pt x="129" y="172"/>
                        </a:lnTo>
                        <a:lnTo>
                          <a:pt x="128" y="172"/>
                        </a:lnTo>
                        <a:lnTo>
                          <a:pt x="127" y="172"/>
                        </a:lnTo>
                        <a:lnTo>
                          <a:pt x="126" y="171"/>
                        </a:lnTo>
                        <a:lnTo>
                          <a:pt x="125" y="171"/>
                        </a:lnTo>
                        <a:lnTo>
                          <a:pt x="125" y="170"/>
                        </a:lnTo>
                        <a:lnTo>
                          <a:pt x="125" y="170"/>
                        </a:lnTo>
                        <a:lnTo>
                          <a:pt x="124" y="169"/>
                        </a:lnTo>
                        <a:lnTo>
                          <a:pt x="124" y="169"/>
                        </a:lnTo>
                        <a:lnTo>
                          <a:pt x="124" y="168"/>
                        </a:lnTo>
                        <a:lnTo>
                          <a:pt x="124" y="168"/>
                        </a:lnTo>
                        <a:lnTo>
                          <a:pt x="124" y="167"/>
                        </a:lnTo>
                        <a:lnTo>
                          <a:pt x="123" y="167"/>
                        </a:lnTo>
                        <a:lnTo>
                          <a:pt x="123" y="167"/>
                        </a:lnTo>
                        <a:lnTo>
                          <a:pt x="123" y="167"/>
                        </a:lnTo>
                        <a:lnTo>
                          <a:pt x="122" y="167"/>
                        </a:lnTo>
                        <a:lnTo>
                          <a:pt x="122" y="167"/>
                        </a:lnTo>
                        <a:lnTo>
                          <a:pt x="120" y="164"/>
                        </a:lnTo>
                        <a:lnTo>
                          <a:pt x="118" y="162"/>
                        </a:lnTo>
                        <a:lnTo>
                          <a:pt x="116" y="159"/>
                        </a:lnTo>
                        <a:lnTo>
                          <a:pt x="114" y="156"/>
                        </a:lnTo>
                        <a:lnTo>
                          <a:pt x="112" y="153"/>
                        </a:lnTo>
                        <a:lnTo>
                          <a:pt x="110" y="150"/>
                        </a:lnTo>
                        <a:lnTo>
                          <a:pt x="109" y="148"/>
                        </a:lnTo>
                        <a:lnTo>
                          <a:pt x="109" y="147"/>
                        </a:lnTo>
                        <a:lnTo>
                          <a:pt x="108" y="145"/>
                        </a:lnTo>
                        <a:lnTo>
                          <a:pt x="107" y="144"/>
                        </a:lnTo>
                        <a:lnTo>
                          <a:pt x="106" y="144"/>
                        </a:lnTo>
                        <a:lnTo>
                          <a:pt x="105" y="144"/>
                        </a:lnTo>
                        <a:lnTo>
                          <a:pt x="104" y="145"/>
                        </a:lnTo>
                        <a:lnTo>
                          <a:pt x="103" y="145"/>
                        </a:lnTo>
                        <a:lnTo>
                          <a:pt x="102" y="145"/>
                        </a:lnTo>
                        <a:lnTo>
                          <a:pt x="101" y="145"/>
                        </a:lnTo>
                        <a:lnTo>
                          <a:pt x="100" y="146"/>
                        </a:lnTo>
                        <a:lnTo>
                          <a:pt x="99" y="146"/>
                        </a:lnTo>
                        <a:lnTo>
                          <a:pt x="97" y="146"/>
                        </a:lnTo>
                        <a:lnTo>
                          <a:pt x="95" y="146"/>
                        </a:lnTo>
                        <a:lnTo>
                          <a:pt x="93" y="146"/>
                        </a:lnTo>
                        <a:lnTo>
                          <a:pt x="90" y="145"/>
                        </a:lnTo>
                        <a:lnTo>
                          <a:pt x="88" y="145"/>
                        </a:lnTo>
                        <a:lnTo>
                          <a:pt x="86" y="144"/>
                        </a:lnTo>
                        <a:lnTo>
                          <a:pt x="84" y="144"/>
                        </a:lnTo>
                        <a:lnTo>
                          <a:pt x="82" y="143"/>
                        </a:lnTo>
                        <a:lnTo>
                          <a:pt x="80" y="143"/>
                        </a:lnTo>
                        <a:lnTo>
                          <a:pt x="78" y="142"/>
                        </a:lnTo>
                        <a:lnTo>
                          <a:pt x="74" y="140"/>
                        </a:lnTo>
                        <a:lnTo>
                          <a:pt x="73" y="140"/>
                        </a:lnTo>
                        <a:lnTo>
                          <a:pt x="72" y="140"/>
                        </a:lnTo>
                        <a:lnTo>
                          <a:pt x="71" y="140"/>
                        </a:lnTo>
                        <a:lnTo>
                          <a:pt x="71" y="140"/>
                        </a:lnTo>
                        <a:lnTo>
                          <a:pt x="71" y="140"/>
                        </a:lnTo>
                        <a:lnTo>
                          <a:pt x="70" y="140"/>
                        </a:lnTo>
                        <a:lnTo>
                          <a:pt x="70" y="140"/>
                        </a:lnTo>
                        <a:lnTo>
                          <a:pt x="69" y="140"/>
                        </a:lnTo>
                        <a:lnTo>
                          <a:pt x="69" y="140"/>
                        </a:lnTo>
                        <a:lnTo>
                          <a:pt x="69" y="141"/>
                        </a:lnTo>
                        <a:lnTo>
                          <a:pt x="69" y="141"/>
                        </a:lnTo>
                        <a:lnTo>
                          <a:pt x="69" y="141"/>
                        </a:lnTo>
                        <a:lnTo>
                          <a:pt x="69" y="142"/>
                        </a:lnTo>
                        <a:lnTo>
                          <a:pt x="68" y="142"/>
                        </a:lnTo>
                        <a:lnTo>
                          <a:pt x="67" y="142"/>
                        </a:lnTo>
                        <a:lnTo>
                          <a:pt x="67" y="142"/>
                        </a:lnTo>
                        <a:lnTo>
                          <a:pt x="66" y="142"/>
                        </a:lnTo>
                        <a:lnTo>
                          <a:pt x="65" y="142"/>
                        </a:lnTo>
                        <a:lnTo>
                          <a:pt x="65" y="142"/>
                        </a:lnTo>
                        <a:lnTo>
                          <a:pt x="65" y="142"/>
                        </a:lnTo>
                        <a:lnTo>
                          <a:pt x="64" y="143"/>
                        </a:lnTo>
                        <a:lnTo>
                          <a:pt x="64" y="143"/>
                        </a:lnTo>
                        <a:lnTo>
                          <a:pt x="63" y="143"/>
                        </a:lnTo>
                        <a:lnTo>
                          <a:pt x="63" y="143"/>
                        </a:lnTo>
                        <a:lnTo>
                          <a:pt x="62" y="144"/>
                        </a:lnTo>
                        <a:lnTo>
                          <a:pt x="62" y="144"/>
                        </a:lnTo>
                        <a:lnTo>
                          <a:pt x="61" y="144"/>
                        </a:lnTo>
                        <a:lnTo>
                          <a:pt x="61" y="144"/>
                        </a:lnTo>
                        <a:lnTo>
                          <a:pt x="58" y="143"/>
                        </a:lnTo>
                        <a:lnTo>
                          <a:pt x="55" y="142"/>
                        </a:lnTo>
                        <a:lnTo>
                          <a:pt x="53" y="141"/>
                        </a:lnTo>
                        <a:lnTo>
                          <a:pt x="50" y="140"/>
                        </a:lnTo>
                        <a:lnTo>
                          <a:pt x="47" y="140"/>
                        </a:lnTo>
                        <a:lnTo>
                          <a:pt x="44" y="139"/>
                        </a:lnTo>
                        <a:lnTo>
                          <a:pt x="42" y="138"/>
                        </a:lnTo>
                        <a:lnTo>
                          <a:pt x="40" y="138"/>
                        </a:lnTo>
                        <a:lnTo>
                          <a:pt x="39" y="138"/>
                        </a:lnTo>
                        <a:lnTo>
                          <a:pt x="37" y="138"/>
                        </a:lnTo>
                        <a:lnTo>
                          <a:pt x="36" y="138"/>
                        </a:lnTo>
                        <a:lnTo>
                          <a:pt x="35" y="138"/>
                        </a:lnTo>
                        <a:lnTo>
                          <a:pt x="33" y="138"/>
                        </a:lnTo>
                        <a:lnTo>
                          <a:pt x="32" y="138"/>
                        </a:lnTo>
                        <a:lnTo>
                          <a:pt x="31" y="138"/>
                        </a:lnTo>
                        <a:lnTo>
                          <a:pt x="29" y="138"/>
                        </a:lnTo>
                        <a:lnTo>
                          <a:pt x="28" y="139"/>
                        </a:lnTo>
                        <a:lnTo>
                          <a:pt x="27" y="139"/>
                        </a:lnTo>
                        <a:lnTo>
                          <a:pt x="26" y="139"/>
                        </a:lnTo>
                        <a:lnTo>
                          <a:pt x="25" y="140"/>
                        </a:lnTo>
                        <a:lnTo>
                          <a:pt x="23" y="140"/>
                        </a:lnTo>
                        <a:lnTo>
                          <a:pt x="22" y="141"/>
                        </a:lnTo>
                        <a:lnTo>
                          <a:pt x="21" y="142"/>
                        </a:lnTo>
                        <a:lnTo>
                          <a:pt x="20" y="143"/>
                        </a:lnTo>
                        <a:lnTo>
                          <a:pt x="19" y="144"/>
                        </a:lnTo>
                        <a:lnTo>
                          <a:pt x="18" y="143"/>
                        </a:lnTo>
                        <a:lnTo>
                          <a:pt x="18" y="143"/>
                        </a:lnTo>
                        <a:lnTo>
                          <a:pt x="17" y="143"/>
                        </a:lnTo>
                        <a:lnTo>
                          <a:pt x="16" y="143"/>
                        </a:lnTo>
                        <a:lnTo>
                          <a:pt x="15" y="143"/>
                        </a:lnTo>
                        <a:lnTo>
                          <a:pt x="14" y="143"/>
                        </a:lnTo>
                        <a:lnTo>
                          <a:pt x="14" y="144"/>
                        </a:lnTo>
                        <a:lnTo>
                          <a:pt x="13" y="144"/>
                        </a:lnTo>
                        <a:lnTo>
                          <a:pt x="12" y="144"/>
                        </a:lnTo>
                        <a:lnTo>
                          <a:pt x="11" y="145"/>
                        </a:lnTo>
                        <a:lnTo>
                          <a:pt x="11" y="146"/>
                        </a:lnTo>
                        <a:lnTo>
                          <a:pt x="10" y="146"/>
                        </a:lnTo>
                        <a:lnTo>
                          <a:pt x="10" y="146"/>
                        </a:lnTo>
                        <a:lnTo>
                          <a:pt x="9" y="147"/>
                        </a:lnTo>
                        <a:lnTo>
                          <a:pt x="8" y="147"/>
                        </a:lnTo>
                        <a:lnTo>
                          <a:pt x="7" y="147"/>
                        </a:lnTo>
                        <a:lnTo>
                          <a:pt x="7" y="137"/>
                        </a:lnTo>
                        <a:lnTo>
                          <a:pt x="7" y="127"/>
                        </a:lnTo>
                        <a:lnTo>
                          <a:pt x="8" y="127"/>
                        </a:lnTo>
                        <a:lnTo>
                          <a:pt x="8" y="127"/>
                        </a:lnTo>
                        <a:lnTo>
                          <a:pt x="8" y="127"/>
                        </a:lnTo>
                        <a:lnTo>
                          <a:pt x="9" y="126"/>
                        </a:lnTo>
                        <a:lnTo>
                          <a:pt x="9" y="126"/>
                        </a:lnTo>
                        <a:lnTo>
                          <a:pt x="9" y="126"/>
                        </a:lnTo>
                        <a:lnTo>
                          <a:pt x="9" y="126"/>
                        </a:lnTo>
                        <a:lnTo>
                          <a:pt x="9" y="125"/>
                        </a:lnTo>
                        <a:lnTo>
                          <a:pt x="10" y="125"/>
                        </a:lnTo>
                        <a:lnTo>
                          <a:pt x="11" y="125"/>
                        </a:lnTo>
                        <a:lnTo>
                          <a:pt x="12" y="125"/>
                        </a:lnTo>
                        <a:lnTo>
                          <a:pt x="12" y="124"/>
                        </a:lnTo>
                        <a:lnTo>
                          <a:pt x="13" y="124"/>
                        </a:lnTo>
                        <a:lnTo>
                          <a:pt x="13" y="123"/>
                        </a:lnTo>
                        <a:lnTo>
                          <a:pt x="14" y="123"/>
                        </a:lnTo>
                        <a:lnTo>
                          <a:pt x="14" y="122"/>
                        </a:lnTo>
                        <a:lnTo>
                          <a:pt x="14" y="121"/>
                        </a:lnTo>
                        <a:lnTo>
                          <a:pt x="14" y="120"/>
                        </a:lnTo>
                        <a:lnTo>
                          <a:pt x="13" y="119"/>
                        </a:lnTo>
                        <a:lnTo>
                          <a:pt x="13" y="118"/>
                        </a:lnTo>
                        <a:lnTo>
                          <a:pt x="12" y="117"/>
                        </a:lnTo>
                        <a:lnTo>
                          <a:pt x="11" y="117"/>
                        </a:lnTo>
                        <a:lnTo>
                          <a:pt x="11" y="116"/>
                        </a:lnTo>
                        <a:lnTo>
                          <a:pt x="10" y="115"/>
                        </a:lnTo>
                        <a:lnTo>
                          <a:pt x="9" y="114"/>
                        </a:lnTo>
                        <a:lnTo>
                          <a:pt x="8" y="114"/>
                        </a:lnTo>
                        <a:lnTo>
                          <a:pt x="8" y="113"/>
                        </a:lnTo>
                        <a:lnTo>
                          <a:pt x="7" y="113"/>
                        </a:lnTo>
                        <a:lnTo>
                          <a:pt x="6" y="112"/>
                        </a:lnTo>
                        <a:lnTo>
                          <a:pt x="6" y="111"/>
                        </a:lnTo>
                        <a:lnTo>
                          <a:pt x="6" y="110"/>
                        </a:lnTo>
                        <a:lnTo>
                          <a:pt x="6" y="109"/>
                        </a:lnTo>
                        <a:lnTo>
                          <a:pt x="6" y="109"/>
                        </a:lnTo>
                        <a:lnTo>
                          <a:pt x="6" y="108"/>
                        </a:lnTo>
                        <a:lnTo>
                          <a:pt x="6" y="107"/>
                        </a:lnTo>
                        <a:lnTo>
                          <a:pt x="7" y="107"/>
                        </a:lnTo>
                        <a:lnTo>
                          <a:pt x="7" y="106"/>
                        </a:lnTo>
                        <a:lnTo>
                          <a:pt x="8" y="105"/>
                        </a:lnTo>
                        <a:lnTo>
                          <a:pt x="8" y="105"/>
                        </a:lnTo>
                        <a:lnTo>
                          <a:pt x="8" y="104"/>
                        </a:lnTo>
                        <a:lnTo>
                          <a:pt x="9" y="103"/>
                        </a:lnTo>
                        <a:lnTo>
                          <a:pt x="9" y="103"/>
                        </a:lnTo>
                        <a:lnTo>
                          <a:pt x="9" y="102"/>
                        </a:lnTo>
                        <a:lnTo>
                          <a:pt x="9" y="101"/>
                        </a:lnTo>
                        <a:lnTo>
                          <a:pt x="9" y="100"/>
                        </a:lnTo>
                        <a:lnTo>
                          <a:pt x="9" y="99"/>
                        </a:lnTo>
                        <a:lnTo>
                          <a:pt x="9" y="99"/>
                        </a:lnTo>
                        <a:lnTo>
                          <a:pt x="9" y="99"/>
                        </a:lnTo>
                        <a:lnTo>
                          <a:pt x="9" y="98"/>
                        </a:lnTo>
                        <a:lnTo>
                          <a:pt x="10" y="98"/>
                        </a:lnTo>
                        <a:lnTo>
                          <a:pt x="10" y="98"/>
                        </a:lnTo>
                        <a:lnTo>
                          <a:pt x="10" y="98"/>
                        </a:lnTo>
                        <a:lnTo>
                          <a:pt x="10" y="98"/>
                        </a:lnTo>
                        <a:lnTo>
                          <a:pt x="10" y="98"/>
                        </a:lnTo>
                        <a:lnTo>
                          <a:pt x="10" y="97"/>
                        </a:lnTo>
                        <a:lnTo>
                          <a:pt x="9" y="97"/>
                        </a:lnTo>
                        <a:lnTo>
                          <a:pt x="9" y="97"/>
                        </a:lnTo>
                        <a:lnTo>
                          <a:pt x="9" y="97"/>
                        </a:lnTo>
                        <a:lnTo>
                          <a:pt x="8" y="96"/>
                        </a:lnTo>
                        <a:lnTo>
                          <a:pt x="8" y="95"/>
                        </a:lnTo>
                        <a:lnTo>
                          <a:pt x="8" y="94"/>
                        </a:lnTo>
                        <a:lnTo>
                          <a:pt x="7" y="93"/>
                        </a:lnTo>
                        <a:lnTo>
                          <a:pt x="7" y="92"/>
                        </a:lnTo>
                        <a:lnTo>
                          <a:pt x="7" y="91"/>
                        </a:lnTo>
                        <a:lnTo>
                          <a:pt x="6" y="90"/>
                        </a:lnTo>
                        <a:lnTo>
                          <a:pt x="6" y="90"/>
                        </a:lnTo>
                        <a:lnTo>
                          <a:pt x="6" y="88"/>
                        </a:lnTo>
                        <a:lnTo>
                          <a:pt x="6" y="86"/>
                        </a:lnTo>
                        <a:lnTo>
                          <a:pt x="6" y="84"/>
                        </a:lnTo>
                        <a:lnTo>
                          <a:pt x="6" y="82"/>
                        </a:lnTo>
                        <a:lnTo>
                          <a:pt x="6" y="80"/>
                        </a:lnTo>
                        <a:lnTo>
                          <a:pt x="6" y="78"/>
                        </a:lnTo>
                        <a:lnTo>
                          <a:pt x="6" y="77"/>
                        </a:lnTo>
                        <a:lnTo>
                          <a:pt x="6" y="76"/>
                        </a:lnTo>
                        <a:lnTo>
                          <a:pt x="5" y="75"/>
                        </a:lnTo>
                        <a:lnTo>
                          <a:pt x="5" y="74"/>
                        </a:lnTo>
                        <a:lnTo>
                          <a:pt x="5" y="74"/>
                        </a:lnTo>
                        <a:lnTo>
                          <a:pt x="4" y="73"/>
                        </a:lnTo>
                        <a:lnTo>
                          <a:pt x="4" y="72"/>
                        </a:lnTo>
                        <a:lnTo>
                          <a:pt x="4" y="71"/>
                        </a:lnTo>
                        <a:lnTo>
                          <a:pt x="3" y="71"/>
                        </a:lnTo>
                        <a:lnTo>
                          <a:pt x="2" y="70"/>
                        </a:lnTo>
                        <a:lnTo>
                          <a:pt x="1" y="69"/>
                        </a:lnTo>
                        <a:lnTo>
                          <a:pt x="1" y="69"/>
                        </a:lnTo>
                        <a:lnTo>
                          <a:pt x="0" y="68"/>
                        </a:lnTo>
                        <a:lnTo>
                          <a:pt x="0" y="67"/>
                        </a:lnTo>
                        <a:lnTo>
                          <a:pt x="0" y="67"/>
                        </a:lnTo>
                        <a:lnTo>
                          <a:pt x="0" y="66"/>
                        </a:lnTo>
                        <a:lnTo>
                          <a:pt x="0" y="66"/>
                        </a:lnTo>
                        <a:lnTo>
                          <a:pt x="0" y="65"/>
                        </a:lnTo>
                        <a:lnTo>
                          <a:pt x="0" y="65"/>
                        </a:lnTo>
                        <a:lnTo>
                          <a:pt x="1" y="65"/>
                        </a:lnTo>
                        <a:lnTo>
                          <a:pt x="1" y="64"/>
                        </a:lnTo>
                        <a:lnTo>
                          <a:pt x="2" y="64"/>
                        </a:lnTo>
                        <a:lnTo>
                          <a:pt x="2" y="63"/>
                        </a:lnTo>
                        <a:lnTo>
                          <a:pt x="3" y="63"/>
                        </a:lnTo>
                        <a:lnTo>
                          <a:pt x="4" y="62"/>
                        </a:lnTo>
                        <a:lnTo>
                          <a:pt x="4" y="62"/>
                        </a:lnTo>
                        <a:lnTo>
                          <a:pt x="4" y="61"/>
                        </a:lnTo>
                        <a:lnTo>
                          <a:pt x="5" y="61"/>
                        </a:lnTo>
                        <a:lnTo>
                          <a:pt x="5" y="59"/>
                        </a:lnTo>
                        <a:lnTo>
                          <a:pt x="6" y="58"/>
                        </a:lnTo>
                        <a:lnTo>
                          <a:pt x="7" y="56"/>
                        </a:lnTo>
                        <a:lnTo>
                          <a:pt x="7" y="55"/>
                        </a:lnTo>
                        <a:lnTo>
                          <a:pt x="8" y="55"/>
                        </a:lnTo>
                        <a:lnTo>
                          <a:pt x="8" y="54"/>
                        </a:lnTo>
                        <a:lnTo>
                          <a:pt x="9" y="54"/>
                        </a:lnTo>
                        <a:lnTo>
                          <a:pt x="9" y="53"/>
                        </a:lnTo>
                        <a:lnTo>
                          <a:pt x="10" y="52"/>
                        </a:lnTo>
                        <a:lnTo>
                          <a:pt x="11" y="52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accent1"/>
                    </a:solidFill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algn="ctr" defTabSz="914308">
                      <a:defRPr/>
                    </a:pPr>
                    <a:endParaRPr lang="en-US" sz="900" kern="0" dirty="0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latin typeface="Times New Roman" pitchFamily="18" charset="0"/>
                      <a:cs typeface="Times New Roman" pitchFamily="18" charset="0"/>
                    </a:endParaRPr>
                  </a:p>
                </p:txBody>
              </p:sp>
              <p:sp>
                <p:nvSpPr>
                  <p:cNvPr id="310" name="Freeform 7"/>
                  <p:cNvSpPr>
                    <a:spLocks/>
                  </p:cNvSpPr>
                  <p:nvPr/>
                </p:nvSpPr>
                <p:spPr bwMode="auto">
                  <a:xfrm>
                    <a:off x="1088669" y="2725961"/>
                    <a:ext cx="1616638" cy="1470029"/>
                  </a:xfrm>
                  <a:custGeom>
                    <a:avLst/>
                    <a:gdLst/>
                    <a:ahLst/>
                    <a:cxnLst>
                      <a:cxn ang="0">
                        <a:pos x="29" y="12"/>
                      </a:cxn>
                      <a:cxn ang="0">
                        <a:pos x="28" y="0"/>
                      </a:cxn>
                      <a:cxn ang="0">
                        <a:pos x="38" y="4"/>
                      </a:cxn>
                      <a:cxn ang="0">
                        <a:pos x="48" y="16"/>
                      </a:cxn>
                      <a:cxn ang="0">
                        <a:pos x="58" y="12"/>
                      </a:cxn>
                      <a:cxn ang="0">
                        <a:pos x="65" y="7"/>
                      </a:cxn>
                      <a:cxn ang="0">
                        <a:pos x="71" y="3"/>
                      </a:cxn>
                      <a:cxn ang="0">
                        <a:pos x="75" y="5"/>
                      </a:cxn>
                      <a:cxn ang="0">
                        <a:pos x="81" y="7"/>
                      </a:cxn>
                      <a:cxn ang="0">
                        <a:pos x="87" y="11"/>
                      </a:cxn>
                      <a:cxn ang="0">
                        <a:pos x="98" y="6"/>
                      </a:cxn>
                      <a:cxn ang="0">
                        <a:pos x="109" y="18"/>
                      </a:cxn>
                      <a:cxn ang="0">
                        <a:pos x="119" y="23"/>
                      </a:cxn>
                      <a:cxn ang="0">
                        <a:pos x="130" y="27"/>
                      </a:cxn>
                      <a:cxn ang="0">
                        <a:pos x="134" y="19"/>
                      </a:cxn>
                      <a:cxn ang="0">
                        <a:pos x="138" y="22"/>
                      </a:cxn>
                      <a:cxn ang="0">
                        <a:pos x="153" y="23"/>
                      </a:cxn>
                      <a:cxn ang="0">
                        <a:pos x="165" y="16"/>
                      </a:cxn>
                      <a:cxn ang="0">
                        <a:pos x="173" y="3"/>
                      </a:cxn>
                      <a:cxn ang="0">
                        <a:pos x="187" y="25"/>
                      </a:cxn>
                      <a:cxn ang="0">
                        <a:pos x="194" y="49"/>
                      </a:cxn>
                      <a:cxn ang="0">
                        <a:pos x="189" y="60"/>
                      </a:cxn>
                      <a:cxn ang="0">
                        <a:pos x="183" y="65"/>
                      </a:cxn>
                      <a:cxn ang="0">
                        <a:pos x="181" y="75"/>
                      </a:cxn>
                      <a:cxn ang="0">
                        <a:pos x="186" y="79"/>
                      </a:cxn>
                      <a:cxn ang="0">
                        <a:pos x="192" y="80"/>
                      </a:cxn>
                      <a:cxn ang="0">
                        <a:pos x="198" y="89"/>
                      </a:cxn>
                      <a:cxn ang="0">
                        <a:pos x="210" y="100"/>
                      </a:cxn>
                      <a:cxn ang="0">
                        <a:pos x="213" y="105"/>
                      </a:cxn>
                      <a:cxn ang="0">
                        <a:pos x="215" y="113"/>
                      </a:cxn>
                      <a:cxn ang="0">
                        <a:pos x="213" y="123"/>
                      </a:cxn>
                      <a:cxn ang="0">
                        <a:pos x="196" y="134"/>
                      </a:cxn>
                      <a:cxn ang="0">
                        <a:pos x="188" y="141"/>
                      </a:cxn>
                      <a:cxn ang="0">
                        <a:pos x="179" y="135"/>
                      </a:cxn>
                      <a:cxn ang="0">
                        <a:pos x="167" y="120"/>
                      </a:cxn>
                      <a:cxn ang="0">
                        <a:pos x="155" y="117"/>
                      </a:cxn>
                      <a:cxn ang="0">
                        <a:pos x="146" y="131"/>
                      </a:cxn>
                      <a:cxn ang="0">
                        <a:pos x="139" y="136"/>
                      </a:cxn>
                      <a:cxn ang="0">
                        <a:pos x="132" y="137"/>
                      </a:cxn>
                      <a:cxn ang="0">
                        <a:pos x="116" y="151"/>
                      </a:cxn>
                      <a:cxn ang="0">
                        <a:pos x="105" y="163"/>
                      </a:cxn>
                      <a:cxn ang="0">
                        <a:pos x="94" y="170"/>
                      </a:cxn>
                      <a:cxn ang="0">
                        <a:pos x="89" y="176"/>
                      </a:cxn>
                      <a:cxn ang="0">
                        <a:pos x="63" y="180"/>
                      </a:cxn>
                      <a:cxn ang="0">
                        <a:pos x="43" y="178"/>
                      </a:cxn>
                      <a:cxn ang="0">
                        <a:pos x="43" y="158"/>
                      </a:cxn>
                      <a:cxn ang="0">
                        <a:pos x="45" y="147"/>
                      </a:cxn>
                      <a:cxn ang="0">
                        <a:pos x="36" y="135"/>
                      </a:cxn>
                      <a:cxn ang="0">
                        <a:pos x="23" y="123"/>
                      </a:cxn>
                      <a:cxn ang="0">
                        <a:pos x="24" y="104"/>
                      </a:cxn>
                      <a:cxn ang="0">
                        <a:pos x="29" y="97"/>
                      </a:cxn>
                      <a:cxn ang="0">
                        <a:pos x="25" y="91"/>
                      </a:cxn>
                      <a:cxn ang="0">
                        <a:pos x="25" y="79"/>
                      </a:cxn>
                      <a:cxn ang="0">
                        <a:pos x="26" y="67"/>
                      </a:cxn>
                      <a:cxn ang="0">
                        <a:pos x="16" y="65"/>
                      </a:cxn>
                      <a:cxn ang="0">
                        <a:pos x="10" y="60"/>
                      </a:cxn>
                      <a:cxn ang="0">
                        <a:pos x="2" y="52"/>
                      </a:cxn>
                      <a:cxn ang="0">
                        <a:pos x="1" y="46"/>
                      </a:cxn>
                      <a:cxn ang="0">
                        <a:pos x="10" y="38"/>
                      </a:cxn>
                      <a:cxn ang="0">
                        <a:pos x="25" y="27"/>
                      </a:cxn>
                      <a:cxn ang="0">
                        <a:pos x="24" y="18"/>
                      </a:cxn>
                    </a:cxnLst>
                    <a:rect l="0" t="0" r="r" b="b"/>
                    <a:pathLst>
                      <a:path w="216" h="183">
                        <a:moveTo>
                          <a:pt x="25" y="16"/>
                        </a:moveTo>
                        <a:lnTo>
                          <a:pt x="26" y="16"/>
                        </a:lnTo>
                        <a:lnTo>
                          <a:pt x="26" y="16"/>
                        </a:lnTo>
                        <a:lnTo>
                          <a:pt x="27" y="16"/>
                        </a:lnTo>
                        <a:lnTo>
                          <a:pt x="27" y="16"/>
                        </a:lnTo>
                        <a:lnTo>
                          <a:pt x="27" y="15"/>
                        </a:lnTo>
                        <a:lnTo>
                          <a:pt x="28" y="15"/>
                        </a:lnTo>
                        <a:lnTo>
                          <a:pt x="29" y="14"/>
                        </a:lnTo>
                        <a:lnTo>
                          <a:pt x="29" y="13"/>
                        </a:lnTo>
                        <a:lnTo>
                          <a:pt x="29" y="12"/>
                        </a:lnTo>
                        <a:lnTo>
                          <a:pt x="30" y="11"/>
                        </a:lnTo>
                        <a:lnTo>
                          <a:pt x="30" y="10"/>
                        </a:lnTo>
                        <a:lnTo>
                          <a:pt x="30" y="8"/>
                        </a:lnTo>
                        <a:lnTo>
                          <a:pt x="30" y="7"/>
                        </a:lnTo>
                        <a:lnTo>
                          <a:pt x="30" y="6"/>
                        </a:lnTo>
                        <a:lnTo>
                          <a:pt x="30" y="4"/>
                        </a:lnTo>
                        <a:lnTo>
                          <a:pt x="29" y="3"/>
                        </a:lnTo>
                        <a:lnTo>
                          <a:pt x="29" y="2"/>
                        </a:lnTo>
                        <a:lnTo>
                          <a:pt x="29" y="1"/>
                        </a:lnTo>
                        <a:lnTo>
                          <a:pt x="28" y="0"/>
                        </a:lnTo>
                        <a:lnTo>
                          <a:pt x="29" y="0"/>
                        </a:lnTo>
                        <a:lnTo>
                          <a:pt x="30" y="0"/>
                        </a:lnTo>
                        <a:lnTo>
                          <a:pt x="31" y="0"/>
                        </a:lnTo>
                        <a:lnTo>
                          <a:pt x="32" y="0"/>
                        </a:lnTo>
                        <a:lnTo>
                          <a:pt x="33" y="1"/>
                        </a:lnTo>
                        <a:lnTo>
                          <a:pt x="34" y="1"/>
                        </a:lnTo>
                        <a:lnTo>
                          <a:pt x="34" y="2"/>
                        </a:lnTo>
                        <a:lnTo>
                          <a:pt x="35" y="2"/>
                        </a:lnTo>
                        <a:lnTo>
                          <a:pt x="36" y="3"/>
                        </a:lnTo>
                        <a:lnTo>
                          <a:pt x="38" y="4"/>
                        </a:lnTo>
                        <a:lnTo>
                          <a:pt x="39" y="5"/>
                        </a:lnTo>
                        <a:lnTo>
                          <a:pt x="39" y="7"/>
                        </a:lnTo>
                        <a:lnTo>
                          <a:pt x="41" y="9"/>
                        </a:lnTo>
                        <a:lnTo>
                          <a:pt x="42" y="11"/>
                        </a:lnTo>
                        <a:lnTo>
                          <a:pt x="43" y="12"/>
                        </a:lnTo>
                        <a:lnTo>
                          <a:pt x="44" y="14"/>
                        </a:lnTo>
                        <a:lnTo>
                          <a:pt x="46" y="15"/>
                        </a:lnTo>
                        <a:lnTo>
                          <a:pt x="46" y="15"/>
                        </a:lnTo>
                        <a:lnTo>
                          <a:pt x="47" y="16"/>
                        </a:lnTo>
                        <a:lnTo>
                          <a:pt x="48" y="16"/>
                        </a:lnTo>
                        <a:lnTo>
                          <a:pt x="48" y="16"/>
                        </a:lnTo>
                        <a:lnTo>
                          <a:pt x="50" y="16"/>
                        </a:lnTo>
                        <a:lnTo>
                          <a:pt x="52" y="15"/>
                        </a:lnTo>
                        <a:lnTo>
                          <a:pt x="54" y="14"/>
                        </a:lnTo>
                        <a:lnTo>
                          <a:pt x="55" y="14"/>
                        </a:lnTo>
                        <a:lnTo>
                          <a:pt x="56" y="14"/>
                        </a:lnTo>
                        <a:lnTo>
                          <a:pt x="56" y="13"/>
                        </a:lnTo>
                        <a:lnTo>
                          <a:pt x="57" y="13"/>
                        </a:lnTo>
                        <a:lnTo>
                          <a:pt x="58" y="12"/>
                        </a:lnTo>
                        <a:lnTo>
                          <a:pt x="58" y="12"/>
                        </a:lnTo>
                        <a:lnTo>
                          <a:pt x="59" y="11"/>
                        </a:lnTo>
                        <a:lnTo>
                          <a:pt x="59" y="10"/>
                        </a:lnTo>
                        <a:lnTo>
                          <a:pt x="60" y="9"/>
                        </a:lnTo>
                        <a:lnTo>
                          <a:pt x="60" y="8"/>
                        </a:lnTo>
                        <a:lnTo>
                          <a:pt x="61" y="8"/>
                        </a:lnTo>
                        <a:lnTo>
                          <a:pt x="62" y="8"/>
                        </a:lnTo>
                        <a:lnTo>
                          <a:pt x="63" y="8"/>
                        </a:lnTo>
                        <a:lnTo>
                          <a:pt x="64" y="8"/>
                        </a:lnTo>
                        <a:lnTo>
                          <a:pt x="64" y="8"/>
                        </a:lnTo>
                        <a:lnTo>
                          <a:pt x="65" y="7"/>
                        </a:lnTo>
                        <a:lnTo>
                          <a:pt x="65" y="7"/>
                        </a:lnTo>
                        <a:lnTo>
                          <a:pt x="66" y="6"/>
                        </a:lnTo>
                        <a:lnTo>
                          <a:pt x="67" y="5"/>
                        </a:lnTo>
                        <a:lnTo>
                          <a:pt x="67" y="4"/>
                        </a:lnTo>
                        <a:lnTo>
                          <a:pt x="68" y="4"/>
                        </a:lnTo>
                        <a:lnTo>
                          <a:pt x="69" y="4"/>
                        </a:lnTo>
                        <a:lnTo>
                          <a:pt x="69" y="3"/>
                        </a:lnTo>
                        <a:lnTo>
                          <a:pt x="70" y="3"/>
                        </a:lnTo>
                        <a:lnTo>
                          <a:pt x="70" y="3"/>
                        </a:lnTo>
                        <a:lnTo>
                          <a:pt x="71" y="3"/>
                        </a:lnTo>
                        <a:lnTo>
                          <a:pt x="71" y="3"/>
                        </a:lnTo>
                        <a:lnTo>
                          <a:pt x="72" y="3"/>
                        </a:lnTo>
                        <a:lnTo>
                          <a:pt x="72" y="3"/>
                        </a:lnTo>
                        <a:lnTo>
                          <a:pt x="72" y="4"/>
                        </a:lnTo>
                        <a:lnTo>
                          <a:pt x="72" y="4"/>
                        </a:lnTo>
                        <a:lnTo>
                          <a:pt x="72" y="4"/>
                        </a:lnTo>
                        <a:lnTo>
                          <a:pt x="73" y="4"/>
                        </a:lnTo>
                        <a:lnTo>
                          <a:pt x="73" y="5"/>
                        </a:lnTo>
                        <a:lnTo>
                          <a:pt x="74" y="5"/>
                        </a:lnTo>
                        <a:lnTo>
                          <a:pt x="75" y="5"/>
                        </a:lnTo>
                        <a:lnTo>
                          <a:pt x="76" y="5"/>
                        </a:lnTo>
                        <a:lnTo>
                          <a:pt x="77" y="5"/>
                        </a:lnTo>
                        <a:lnTo>
                          <a:pt x="77" y="5"/>
                        </a:lnTo>
                        <a:lnTo>
                          <a:pt x="78" y="5"/>
                        </a:lnTo>
                        <a:lnTo>
                          <a:pt x="78" y="5"/>
                        </a:lnTo>
                        <a:lnTo>
                          <a:pt x="79" y="5"/>
                        </a:lnTo>
                        <a:lnTo>
                          <a:pt x="79" y="6"/>
                        </a:lnTo>
                        <a:lnTo>
                          <a:pt x="80" y="6"/>
                        </a:lnTo>
                        <a:lnTo>
                          <a:pt x="80" y="6"/>
                        </a:lnTo>
                        <a:lnTo>
                          <a:pt x="81" y="7"/>
                        </a:lnTo>
                        <a:lnTo>
                          <a:pt x="81" y="8"/>
                        </a:lnTo>
                        <a:lnTo>
                          <a:pt x="81" y="9"/>
                        </a:lnTo>
                        <a:lnTo>
                          <a:pt x="82" y="9"/>
                        </a:lnTo>
                        <a:lnTo>
                          <a:pt x="82" y="10"/>
                        </a:lnTo>
                        <a:lnTo>
                          <a:pt x="83" y="11"/>
                        </a:lnTo>
                        <a:lnTo>
                          <a:pt x="83" y="11"/>
                        </a:lnTo>
                        <a:lnTo>
                          <a:pt x="84" y="11"/>
                        </a:lnTo>
                        <a:lnTo>
                          <a:pt x="85" y="11"/>
                        </a:lnTo>
                        <a:lnTo>
                          <a:pt x="86" y="11"/>
                        </a:lnTo>
                        <a:lnTo>
                          <a:pt x="87" y="11"/>
                        </a:lnTo>
                        <a:lnTo>
                          <a:pt x="88" y="10"/>
                        </a:lnTo>
                        <a:lnTo>
                          <a:pt x="89" y="9"/>
                        </a:lnTo>
                        <a:lnTo>
                          <a:pt x="91" y="8"/>
                        </a:lnTo>
                        <a:lnTo>
                          <a:pt x="92" y="8"/>
                        </a:lnTo>
                        <a:lnTo>
                          <a:pt x="92" y="7"/>
                        </a:lnTo>
                        <a:lnTo>
                          <a:pt x="93" y="7"/>
                        </a:lnTo>
                        <a:lnTo>
                          <a:pt x="95" y="6"/>
                        </a:lnTo>
                        <a:lnTo>
                          <a:pt x="96" y="6"/>
                        </a:lnTo>
                        <a:lnTo>
                          <a:pt x="97" y="6"/>
                        </a:lnTo>
                        <a:lnTo>
                          <a:pt x="98" y="6"/>
                        </a:lnTo>
                        <a:lnTo>
                          <a:pt x="100" y="6"/>
                        </a:lnTo>
                        <a:lnTo>
                          <a:pt x="101" y="6"/>
                        </a:lnTo>
                        <a:lnTo>
                          <a:pt x="102" y="6"/>
                        </a:lnTo>
                        <a:lnTo>
                          <a:pt x="103" y="6"/>
                        </a:lnTo>
                        <a:lnTo>
                          <a:pt x="104" y="8"/>
                        </a:lnTo>
                        <a:lnTo>
                          <a:pt x="105" y="11"/>
                        </a:lnTo>
                        <a:lnTo>
                          <a:pt x="106" y="13"/>
                        </a:lnTo>
                        <a:lnTo>
                          <a:pt x="108" y="15"/>
                        </a:lnTo>
                        <a:lnTo>
                          <a:pt x="109" y="17"/>
                        </a:lnTo>
                        <a:lnTo>
                          <a:pt x="109" y="18"/>
                        </a:lnTo>
                        <a:lnTo>
                          <a:pt x="110" y="19"/>
                        </a:lnTo>
                        <a:lnTo>
                          <a:pt x="111" y="20"/>
                        </a:lnTo>
                        <a:lnTo>
                          <a:pt x="112" y="21"/>
                        </a:lnTo>
                        <a:lnTo>
                          <a:pt x="112" y="22"/>
                        </a:lnTo>
                        <a:lnTo>
                          <a:pt x="113" y="23"/>
                        </a:lnTo>
                        <a:lnTo>
                          <a:pt x="115" y="23"/>
                        </a:lnTo>
                        <a:lnTo>
                          <a:pt x="116" y="23"/>
                        </a:lnTo>
                        <a:lnTo>
                          <a:pt x="117" y="23"/>
                        </a:lnTo>
                        <a:lnTo>
                          <a:pt x="118" y="23"/>
                        </a:lnTo>
                        <a:lnTo>
                          <a:pt x="119" y="23"/>
                        </a:lnTo>
                        <a:lnTo>
                          <a:pt x="120" y="23"/>
                        </a:lnTo>
                        <a:lnTo>
                          <a:pt x="121" y="24"/>
                        </a:lnTo>
                        <a:lnTo>
                          <a:pt x="122" y="24"/>
                        </a:lnTo>
                        <a:lnTo>
                          <a:pt x="123" y="24"/>
                        </a:lnTo>
                        <a:lnTo>
                          <a:pt x="124" y="25"/>
                        </a:lnTo>
                        <a:lnTo>
                          <a:pt x="125" y="26"/>
                        </a:lnTo>
                        <a:lnTo>
                          <a:pt x="127" y="27"/>
                        </a:lnTo>
                        <a:lnTo>
                          <a:pt x="128" y="28"/>
                        </a:lnTo>
                        <a:lnTo>
                          <a:pt x="129" y="28"/>
                        </a:lnTo>
                        <a:lnTo>
                          <a:pt x="130" y="27"/>
                        </a:lnTo>
                        <a:lnTo>
                          <a:pt x="130" y="27"/>
                        </a:lnTo>
                        <a:lnTo>
                          <a:pt x="131" y="27"/>
                        </a:lnTo>
                        <a:lnTo>
                          <a:pt x="131" y="26"/>
                        </a:lnTo>
                        <a:lnTo>
                          <a:pt x="132" y="25"/>
                        </a:lnTo>
                        <a:lnTo>
                          <a:pt x="132" y="25"/>
                        </a:lnTo>
                        <a:lnTo>
                          <a:pt x="133" y="24"/>
                        </a:lnTo>
                        <a:lnTo>
                          <a:pt x="133" y="23"/>
                        </a:lnTo>
                        <a:lnTo>
                          <a:pt x="134" y="21"/>
                        </a:lnTo>
                        <a:lnTo>
                          <a:pt x="134" y="19"/>
                        </a:lnTo>
                        <a:lnTo>
                          <a:pt x="134" y="19"/>
                        </a:lnTo>
                        <a:lnTo>
                          <a:pt x="135" y="18"/>
                        </a:lnTo>
                        <a:lnTo>
                          <a:pt x="135" y="18"/>
                        </a:lnTo>
                        <a:lnTo>
                          <a:pt x="136" y="18"/>
                        </a:lnTo>
                        <a:lnTo>
                          <a:pt x="136" y="18"/>
                        </a:lnTo>
                        <a:lnTo>
                          <a:pt x="137" y="19"/>
                        </a:lnTo>
                        <a:lnTo>
                          <a:pt x="137" y="19"/>
                        </a:lnTo>
                        <a:lnTo>
                          <a:pt x="137" y="19"/>
                        </a:lnTo>
                        <a:lnTo>
                          <a:pt x="137" y="20"/>
                        </a:lnTo>
                        <a:lnTo>
                          <a:pt x="138" y="21"/>
                        </a:lnTo>
                        <a:lnTo>
                          <a:pt x="138" y="22"/>
                        </a:lnTo>
                        <a:lnTo>
                          <a:pt x="138" y="22"/>
                        </a:lnTo>
                        <a:lnTo>
                          <a:pt x="138" y="23"/>
                        </a:lnTo>
                        <a:lnTo>
                          <a:pt x="139" y="23"/>
                        </a:lnTo>
                        <a:lnTo>
                          <a:pt x="139" y="23"/>
                        </a:lnTo>
                        <a:lnTo>
                          <a:pt x="140" y="23"/>
                        </a:lnTo>
                        <a:lnTo>
                          <a:pt x="144" y="23"/>
                        </a:lnTo>
                        <a:lnTo>
                          <a:pt x="147" y="23"/>
                        </a:lnTo>
                        <a:lnTo>
                          <a:pt x="149" y="23"/>
                        </a:lnTo>
                        <a:lnTo>
                          <a:pt x="151" y="23"/>
                        </a:lnTo>
                        <a:lnTo>
                          <a:pt x="153" y="23"/>
                        </a:lnTo>
                        <a:lnTo>
                          <a:pt x="155" y="23"/>
                        </a:lnTo>
                        <a:lnTo>
                          <a:pt x="156" y="23"/>
                        </a:lnTo>
                        <a:lnTo>
                          <a:pt x="158" y="22"/>
                        </a:lnTo>
                        <a:lnTo>
                          <a:pt x="159" y="22"/>
                        </a:lnTo>
                        <a:lnTo>
                          <a:pt x="160" y="21"/>
                        </a:lnTo>
                        <a:lnTo>
                          <a:pt x="162" y="20"/>
                        </a:lnTo>
                        <a:lnTo>
                          <a:pt x="163" y="20"/>
                        </a:lnTo>
                        <a:lnTo>
                          <a:pt x="164" y="19"/>
                        </a:lnTo>
                        <a:lnTo>
                          <a:pt x="165" y="18"/>
                        </a:lnTo>
                        <a:lnTo>
                          <a:pt x="165" y="16"/>
                        </a:lnTo>
                        <a:lnTo>
                          <a:pt x="165" y="14"/>
                        </a:lnTo>
                        <a:lnTo>
                          <a:pt x="166" y="12"/>
                        </a:lnTo>
                        <a:lnTo>
                          <a:pt x="166" y="10"/>
                        </a:lnTo>
                        <a:lnTo>
                          <a:pt x="166" y="8"/>
                        </a:lnTo>
                        <a:lnTo>
                          <a:pt x="167" y="6"/>
                        </a:lnTo>
                        <a:lnTo>
                          <a:pt x="167" y="5"/>
                        </a:lnTo>
                        <a:lnTo>
                          <a:pt x="168" y="3"/>
                        </a:lnTo>
                        <a:lnTo>
                          <a:pt x="170" y="3"/>
                        </a:lnTo>
                        <a:lnTo>
                          <a:pt x="171" y="3"/>
                        </a:lnTo>
                        <a:lnTo>
                          <a:pt x="173" y="3"/>
                        </a:lnTo>
                        <a:lnTo>
                          <a:pt x="175" y="3"/>
                        </a:lnTo>
                        <a:lnTo>
                          <a:pt x="178" y="7"/>
                        </a:lnTo>
                        <a:lnTo>
                          <a:pt x="181" y="10"/>
                        </a:lnTo>
                        <a:lnTo>
                          <a:pt x="182" y="12"/>
                        </a:lnTo>
                        <a:lnTo>
                          <a:pt x="184" y="14"/>
                        </a:lnTo>
                        <a:lnTo>
                          <a:pt x="185" y="16"/>
                        </a:lnTo>
                        <a:lnTo>
                          <a:pt x="187" y="18"/>
                        </a:lnTo>
                        <a:lnTo>
                          <a:pt x="187" y="20"/>
                        </a:lnTo>
                        <a:lnTo>
                          <a:pt x="187" y="23"/>
                        </a:lnTo>
                        <a:lnTo>
                          <a:pt x="187" y="25"/>
                        </a:lnTo>
                        <a:lnTo>
                          <a:pt x="188" y="27"/>
                        </a:lnTo>
                        <a:lnTo>
                          <a:pt x="188" y="29"/>
                        </a:lnTo>
                        <a:lnTo>
                          <a:pt x="189" y="31"/>
                        </a:lnTo>
                        <a:lnTo>
                          <a:pt x="190" y="35"/>
                        </a:lnTo>
                        <a:lnTo>
                          <a:pt x="192" y="39"/>
                        </a:lnTo>
                        <a:lnTo>
                          <a:pt x="192" y="41"/>
                        </a:lnTo>
                        <a:lnTo>
                          <a:pt x="193" y="43"/>
                        </a:lnTo>
                        <a:lnTo>
                          <a:pt x="193" y="45"/>
                        </a:lnTo>
                        <a:lnTo>
                          <a:pt x="194" y="47"/>
                        </a:lnTo>
                        <a:lnTo>
                          <a:pt x="194" y="49"/>
                        </a:lnTo>
                        <a:lnTo>
                          <a:pt x="195" y="51"/>
                        </a:lnTo>
                        <a:lnTo>
                          <a:pt x="194" y="52"/>
                        </a:lnTo>
                        <a:lnTo>
                          <a:pt x="193" y="53"/>
                        </a:lnTo>
                        <a:lnTo>
                          <a:pt x="192" y="53"/>
                        </a:lnTo>
                        <a:lnTo>
                          <a:pt x="192" y="54"/>
                        </a:lnTo>
                        <a:lnTo>
                          <a:pt x="191" y="55"/>
                        </a:lnTo>
                        <a:lnTo>
                          <a:pt x="191" y="56"/>
                        </a:lnTo>
                        <a:lnTo>
                          <a:pt x="190" y="58"/>
                        </a:lnTo>
                        <a:lnTo>
                          <a:pt x="189" y="59"/>
                        </a:lnTo>
                        <a:lnTo>
                          <a:pt x="189" y="60"/>
                        </a:lnTo>
                        <a:lnTo>
                          <a:pt x="188" y="61"/>
                        </a:lnTo>
                        <a:lnTo>
                          <a:pt x="187" y="61"/>
                        </a:lnTo>
                        <a:lnTo>
                          <a:pt x="186" y="62"/>
                        </a:lnTo>
                        <a:lnTo>
                          <a:pt x="185" y="62"/>
                        </a:lnTo>
                        <a:lnTo>
                          <a:pt x="185" y="63"/>
                        </a:lnTo>
                        <a:lnTo>
                          <a:pt x="184" y="63"/>
                        </a:lnTo>
                        <a:lnTo>
                          <a:pt x="184" y="63"/>
                        </a:lnTo>
                        <a:lnTo>
                          <a:pt x="183" y="63"/>
                        </a:lnTo>
                        <a:lnTo>
                          <a:pt x="183" y="64"/>
                        </a:lnTo>
                        <a:lnTo>
                          <a:pt x="183" y="65"/>
                        </a:lnTo>
                        <a:lnTo>
                          <a:pt x="183" y="66"/>
                        </a:lnTo>
                        <a:lnTo>
                          <a:pt x="183" y="66"/>
                        </a:lnTo>
                        <a:lnTo>
                          <a:pt x="182" y="68"/>
                        </a:lnTo>
                        <a:lnTo>
                          <a:pt x="182" y="69"/>
                        </a:lnTo>
                        <a:lnTo>
                          <a:pt x="182" y="71"/>
                        </a:lnTo>
                        <a:lnTo>
                          <a:pt x="181" y="72"/>
                        </a:lnTo>
                        <a:lnTo>
                          <a:pt x="181" y="72"/>
                        </a:lnTo>
                        <a:lnTo>
                          <a:pt x="181" y="73"/>
                        </a:lnTo>
                        <a:lnTo>
                          <a:pt x="181" y="74"/>
                        </a:lnTo>
                        <a:lnTo>
                          <a:pt x="181" y="75"/>
                        </a:lnTo>
                        <a:lnTo>
                          <a:pt x="181" y="76"/>
                        </a:lnTo>
                        <a:lnTo>
                          <a:pt x="182" y="77"/>
                        </a:lnTo>
                        <a:lnTo>
                          <a:pt x="183" y="77"/>
                        </a:lnTo>
                        <a:lnTo>
                          <a:pt x="183" y="78"/>
                        </a:lnTo>
                        <a:lnTo>
                          <a:pt x="184" y="78"/>
                        </a:lnTo>
                        <a:lnTo>
                          <a:pt x="184" y="78"/>
                        </a:lnTo>
                        <a:lnTo>
                          <a:pt x="185" y="78"/>
                        </a:lnTo>
                        <a:lnTo>
                          <a:pt x="185" y="79"/>
                        </a:lnTo>
                        <a:lnTo>
                          <a:pt x="185" y="79"/>
                        </a:lnTo>
                        <a:lnTo>
                          <a:pt x="186" y="79"/>
                        </a:lnTo>
                        <a:lnTo>
                          <a:pt x="187" y="79"/>
                        </a:lnTo>
                        <a:lnTo>
                          <a:pt x="187" y="79"/>
                        </a:lnTo>
                        <a:lnTo>
                          <a:pt x="188" y="78"/>
                        </a:lnTo>
                        <a:lnTo>
                          <a:pt x="188" y="78"/>
                        </a:lnTo>
                        <a:lnTo>
                          <a:pt x="189" y="78"/>
                        </a:lnTo>
                        <a:lnTo>
                          <a:pt x="190" y="78"/>
                        </a:lnTo>
                        <a:lnTo>
                          <a:pt x="191" y="78"/>
                        </a:lnTo>
                        <a:lnTo>
                          <a:pt x="191" y="78"/>
                        </a:lnTo>
                        <a:lnTo>
                          <a:pt x="192" y="79"/>
                        </a:lnTo>
                        <a:lnTo>
                          <a:pt x="192" y="80"/>
                        </a:lnTo>
                        <a:lnTo>
                          <a:pt x="192" y="81"/>
                        </a:lnTo>
                        <a:lnTo>
                          <a:pt x="192" y="82"/>
                        </a:lnTo>
                        <a:lnTo>
                          <a:pt x="192" y="83"/>
                        </a:lnTo>
                        <a:lnTo>
                          <a:pt x="193" y="84"/>
                        </a:lnTo>
                        <a:lnTo>
                          <a:pt x="193" y="84"/>
                        </a:lnTo>
                        <a:lnTo>
                          <a:pt x="194" y="85"/>
                        </a:lnTo>
                        <a:lnTo>
                          <a:pt x="195" y="86"/>
                        </a:lnTo>
                        <a:lnTo>
                          <a:pt x="196" y="87"/>
                        </a:lnTo>
                        <a:lnTo>
                          <a:pt x="197" y="88"/>
                        </a:lnTo>
                        <a:lnTo>
                          <a:pt x="198" y="89"/>
                        </a:lnTo>
                        <a:lnTo>
                          <a:pt x="200" y="90"/>
                        </a:lnTo>
                        <a:lnTo>
                          <a:pt x="201" y="91"/>
                        </a:lnTo>
                        <a:lnTo>
                          <a:pt x="204" y="92"/>
                        </a:lnTo>
                        <a:lnTo>
                          <a:pt x="206" y="93"/>
                        </a:lnTo>
                        <a:lnTo>
                          <a:pt x="207" y="94"/>
                        </a:lnTo>
                        <a:lnTo>
                          <a:pt x="209" y="95"/>
                        </a:lnTo>
                        <a:lnTo>
                          <a:pt x="210" y="96"/>
                        </a:lnTo>
                        <a:lnTo>
                          <a:pt x="210" y="98"/>
                        </a:lnTo>
                        <a:lnTo>
                          <a:pt x="210" y="99"/>
                        </a:lnTo>
                        <a:lnTo>
                          <a:pt x="210" y="100"/>
                        </a:lnTo>
                        <a:lnTo>
                          <a:pt x="210" y="101"/>
                        </a:lnTo>
                        <a:lnTo>
                          <a:pt x="210" y="102"/>
                        </a:lnTo>
                        <a:lnTo>
                          <a:pt x="211" y="103"/>
                        </a:lnTo>
                        <a:lnTo>
                          <a:pt x="211" y="104"/>
                        </a:lnTo>
                        <a:lnTo>
                          <a:pt x="211" y="105"/>
                        </a:lnTo>
                        <a:lnTo>
                          <a:pt x="212" y="105"/>
                        </a:lnTo>
                        <a:lnTo>
                          <a:pt x="212" y="105"/>
                        </a:lnTo>
                        <a:lnTo>
                          <a:pt x="213" y="105"/>
                        </a:lnTo>
                        <a:lnTo>
                          <a:pt x="213" y="105"/>
                        </a:lnTo>
                        <a:lnTo>
                          <a:pt x="213" y="105"/>
                        </a:lnTo>
                        <a:lnTo>
                          <a:pt x="214" y="106"/>
                        </a:lnTo>
                        <a:lnTo>
                          <a:pt x="214" y="106"/>
                        </a:lnTo>
                        <a:lnTo>
                          <a:pt x="214" y="107"/>
                        </a:lnTo>
                        <a:lnTo>
                          <a:pt x="214" y="107"/>
                        </a:lnTo>
                        <a:lnTo>
                          <a:pt x="214" y="108"/>
                        </a:lnTo>
                        <a:lnTo>
                          <a:pt x="215" y="110"/>
                        </a:lnTo>
                        <a:lnTo>
                          <a:pt x="215" y="111"/>
                        </a:lnTo>
                        <a:lnTo>
                          <a:pt x="215" y="112"/>
                        </a:lnTo>
                        <a:lnTo>
                          <a:pt x="215" y="112"/>
                        </a:lnTo>
                        <a:lnTo>
                          <a:pt x="215" y="113"/>
                        </a:lnTo>
                        <a:lnTo>
                          <a:pt x="216" y="114"/>
                        </a:lnTo>
                        <a:lnTo>
                          <a:pt x="216" y="114"/>
                        </a:lnTo>
                        <a:lnTo>
                          <a:pt x="216" y="115"/>
                        </a:lnTo>
                        <a:lnTo>
                          <a:pt x="216" y="116"/>
                        </a:lnTo>
                        <a:lnTo>
                          <a:pt x="216" y="117"/>
                        </a:lnTo>
                        <a:lnTo>
                          <a:pt x="215" y="118"/>
                        </a:lnTo>
                        <a:lnTo>
                          <a:pt x="215" y="120"/>
                        </a:lnTo>
                        <a:lnTo>
                          <a:pt x="214" y="121"/>
                        </a:lnTo>
                        <a:lnTo>
                          <a:pt x="213" y="122"/>
                        </a:lnTo>
                        <a:lnTo>
                          <a:pt x="213" y="123"/>
                        </a:lnTo>
                        <a:lnTo>
                          <a:pt x="212" y="123"/>
                        </a:lnTo>
                        <a:lnTo>
                          <a:pt x="211" y="124"/>
                        </a:lnTo>
                        <a:lnTo>
                          <a:pt x="210" y="125"/>
                        </a:lnTo>
                        <a:lnTo>
                          <a:pt x="208" y="126"/>
                        </a:lnTo>
                        <a:lnTo>
                          <a:pt x="206" y="128"/>
                        </a:lnTo>
                        <a:lnTo>
                          <a:pt x="204" y="129"/>
                        </a:lnTo>
                        <a:lnTo>
                          <a:pt x="202" y="130"/>
                        </a:lnTo>
                        <a:lnTo>
                          <a:pt x="200" y="131"/>
                        </a:lnTo>
                        <a:lnTo>
                          <a:pt x="198" y="133"/>
                        </a:lnTo>
                        <a:lnTo>
                          <a:pt x="196" y="134"/>
                        </a:lnTo>
                        <a:lnTo>
                          <a:pt x="195" y="135"/>
                        </a:lnTo>
                        <a:lnTo>
                          <a:pt x="194" y="136"/>
                        </a:lnTo>
                        <a:lnTo>
                          <a:pt x="193" y="136"/>
                        </a:lnTo>
                        <a:lnTo>
                          <a:pt x="192" y="137"/>
                        </a:lnTo>
                        <a:lnTo>
                          <a:pt x="192" y="138"/>
                        </a:lnTo>
                        <a:lnTo>
                          <a:pt x="191" y="139"/>
                        </a:lnTo>
                        <a:lnTo>
                          <a:pt x="190" y="140"/>
                        </a:lnTo>
                        <a:lnTo>
                          <a:pt x="190" y="141"/>
                        </a:lnTo>
                        <a:lnTo>
                          <a:pt x="189" y="141"/>
                        </a:lnTo>
                        <a:lnTo>
                          <a:pt x="188" y="141"/>
                        </a:lnTo>
                        <a:lnTo>
                          <a:pt x="187" y="141"/>
                        </a:lnTo>
                        <a:lnTo>
                          <a:pt x="187" y="141"/>
                        </a:lnTo>
                        <a:lnTo>
                          <a:pt x="185" y="141"/>
                        </a:lnTo>
                        <a:lnTo>
                          <a:pt x="184" y="140"/>
                        </a:lnTo>
                        <a:lnTo>
                          <a:pt x="183" y="139"/>
                        </a:lnTo>
                        <a:lnTo>
                          <a:pt x="182" y="139"/>
                        </a:lnTo>
                        <a:lnTo>
                          <a:pt x="181" y="138"/>
                        </a:lnTo>
                        <a:lnTo>
                          <a:pt x="180" y="137"/>
                        </a:lnTo>
                        <a:lnTo>
                          <a:pt x="179" y="136"/>
                        </a:lnTo>
                        <a:lnTo>
                          <a:pt x="179" y="135"/>
                        </a:lnTo>
                        <a:lnTo>
                          <a:pt x="177" y="133"/>
                        </a:lnTo>
                        <a:lnTo>
                          <a:pt x="176" y="131"/>
                        </a:lnTo>
                        <a:lnTo>
                          <a:pt x="174" y="129"/>
                        </a:lnTo>
                        <a:lnTo>
                          <a:pt x="173" y="127"/>
                        </a:lnTo>
                        <a:lnTo>
                          <a:pt x="171" y="125"/>
                        </a:lnTo>
                        <a:lnTo>
                          <a:pt x="170" y="123"/>
                        </a:lnTo>
                        <a:lnTo>
                          <a:pt x="169" y="122"/>
                        </a:lnTo>
                        <a:lnTo>
                          <a:pt x="168" y="121"/>
                        </a:lnTo>
                        <a:lnTo>
                          <a:pt x="167" y="121"/>
                        </a:lnTo>
                        <a:lnTo>
                          <a:pt x="167" y="120"/>
                        </a:lnTo>
                        <a:lnTo>
                          <a:pt x="166" y="119"/>
                        </a:lnTo>
                        <a:lnTo>
                          <a:pt x="165" y="119"/>
                        </a:lnTo>
                        <a:lnTo>
                          <a:pt x="163" y="118"/>
                        </a:lnTo>
                        <a:lnTo>
                          <a:pt x="162" y="117"/>
                        </a:lnTo>
                        <a:lnTo>
                          <a:pt x="161" y="117"/>
                        </a:lnTo>
                        <a:lnTo>
                          <a:pt x="159" y="117"/>
                        </a:lnTo>
                        <a:lnTo>
                          <a:pt x="158" y="116"/>
                        </a:lnTo>
                        <a:lnTo>
                          <a:pt x="157" y="116"/>
                        </a:lnTo>
                        <a:lnTo>
                          <a:pt x="156" y="117"/>
                        </a:lnTo>
                        <a:lnTo>
                          <a:pt x="155" y="117"/>
                        </a:lnTo>
                        <a:lnTo>
                          <a:pt x="154" y="118"/>
                        </a:lnTo>
                        <a:lnTo>
                          <a:pt x="153" y="119"/>
                        </a:lnTo>
                        <a:lnTo>
                          <a:pt x="152" y="120"/>
                        </a:lnTo>
                        <a:lnTo>
                          <a:pt x="151" y="121"/>
                        </a:lnTo>
                        <a:lnTo>
                          <a:pt x="150" y="123"/>
                        </a:lnTo>
                        <a:lnTo>
                          <a:pt x="149" y="124"/>
                        </a:lnTo>
                        <a:lnTo>
                          <a:pt x="149" y="125"/>
                        </a:lnTo>
                        <a:lnTo>
                          <a:pt x="148" y="128"/>
                        </a:lnTo>
                        <a:lnTo>
                          <a:pt x="147" y="130"/>
                        </a:lnTo>
                        <a:lnTo>
                          <a:pt x="146" y="131"/>
                        </a:lnTo>
                        <a:lnTo>
                          <a:pt x="146" y="133"/>
                        </a:lnTo>
                        <a:lnTo>
                          <a:pt x="145" y="134"/>
                        </a:lnTo>
                        <a:lnTo>
                          <a:pt x="144" y="135"/>
                        </a:lnTo>
                        <a:lnTo>
                          <a:pt x="143" y="136"/>
                        </a:lnTo>
                        <a:lnTo>
                          <a:pt x="142" y="136"/>
                        </a:lnTo>
                        <a:lnTo>
                          <a:pt x="142" y="136"/>
                        </a:lnTo>
                        <a:lnTo>
                          <a:pt x="141" y="136"/>
                        </a:lnTo>
                        <a:lnTo>
                          <a:pt x="140" y="136"/>
                        </a:lnTo>
                        <a:lnTo>
                          <a:pt x="140" y="136"/>
                        </a:lnTo>
                        <a:lnTo>
                          <a:pt x="139" y="136"/>
                        </a:lnTo>
                        <a:lnTo>
                          <a:pt x="138" y="135"/>
                        </a:lnTo>
                        <a:lnTo>
                          <a:pt x="137" y="135"/>
                        </a:lnTo>
                        <a:lnTo>
                          <a:pt x="137" y="135"/>
                        </a:lnTo>
                        <a:lnTo>
                          <a:pt x="136" y="134"/>
                        </a:lnTo>
                        <a:lnTo>
                          <a:pt x="136" y="134"/>
                        </a:lnTo>
                        <a:lnTo>
                          <a:pt x="135" y="134"/>
                        </a:lnTo>
                        <a:lnTo>
                          <a:pt x="134" y="134"/>
                        </a:lnTo>
                        <a:lnTo>
                          <a:pt x="133" y="135"/>
                        </a:lnTo>
                        <a:lnTo>
                          <a:pt x="133" y="136"/>
                        </a:lnTo>
                        <a:lnTo>
                          <a:pt x="132" y="137"/>
                        </a:lnTo>
                        <a:lnTo>
                          <a:pt x="131" y="138"/>
                        </a:lnTo>
                        <a:lnTo>
                          <a:pt x="131" y="139"/>
                        </a:lnTo>
                        <a:lnTo>
                          <a:pt x="129" y="141"/>
                        </a:lnTo>
                        <a:lnTo>
                          <a:pt x="127" y="142"/>
                        </a:lnTo>
                        <a:lnTo>
                          <a:pt x="125" y="144"/>
                        </a:lnTo>
                        <a:lnTo>
                          <a:pt x="123" y="145"/>
                        </a:lnTo>
                        <a:lnTo>
                          <a:pt x="122" y="147"/>
                        </a:lnTo>
                        <a:lnTo>
                          <a:pt x="120" y="148"/>
                        </a:lnTo>
                        <a:lnTo>
                          <a:pt x="118" y="150"/>
                        </a:lnTo>
                        <a:lnTo>
                          <a:pt x="116" y="151"/>
                        </a:lnTo>
                        <a:lnTo>
                          <a:pt x="114" y="153"/>
                        </a:lnTo>
                        <a:lnTo>
                          <a:pt x="112" y="155"/>
                        </a:lnTo>
                        <a:lnTo>
                          <a:pt x="111" y="157"/>
                        </a:lnTo>
                        <a:lnTo>
                          <a:pt x="110" y="157"/>
                        </a:lnTo>
                        <a:lnTo>
                          <a:pt x="109" y="158"/>
                        </a:lnTo>
                        <a:lnTo>
                          <a:pt x="108" y="159"/>
                        </a:lnTo>
                        <a:lnTo>
                          <a:pt x="108" y="161"/>
                        </a:lnTo>
                        <a:lnTo>
                          <a:pt x="107" y="162"/>
                        </a:lnTo>
                        <a:lnTo>
                          <a:pt x="106" y="163"/>
                        </a:lnTo>
                        <a:lnTo>
                          <a:pt x="105" y="163"/>
                        </a:lnTo>
                        <a:lnTo>
                          <a:pt x="104" y="163"/>
                        </a:lnTo>
                        <a:lnTo>
                          <a:pt x="102" y="164"/>
                        </a:lnTo>
                        <a:lnTo>
                          <a:pt x="101" y="165"/>
                        </a:lnTo>
                        <a:lnTo>
                          <a:pt x="100" y="165"/>
                        </a:lnTo>
                        <a:lnTo>
                          <a:pt x="99" y="166"/>
                        </a:lnTo>
                        <a:lnTo>
                          <a:pt x="98" y="167"/>
                        </a:lnTo>
                        <a:lnTo>
                          <a:pt x="97" y="167"/>
                        </a:lnTo>
                        <a:lnTo>
                          <a:pt x="96" y="168"/>
                        </a:lnTo>
                        <a:lnTo>
                          <a:pt x="95" y="169"/>
                        </a:lnTo>
                        <a:lnTo>
                          <a:pt x="94" y="170"/>
                        </a:lnTo>
                        <a:lnTo>
                          <a:pt x="94" y="171"/>
                        </a:lnTo>
                        <a:lnTo>
                          <a:pt x="93" y="172"/>
                        </a:lnTo>
                        <a:lnTo>
                          <a:pt x="93" y="174"/>
                        </a:lnTo>
                        <a:lnTo>
                          <a:pt x="92" y="175"/>
                        </a:lnTo>
                        <a:lnTo>
                          <a:pt x="92" y="176"/>
                        </a:lnTo>
                        <a:lnTo>
                          <a:pt x="91" y="176"/>
                        </a:lnTo>
                        <a:lnTo>
                          <a:pt x="91" y="176"/>
                        </a:lnTo>
                        <a:lnTo>
                          <a:pt x="90" y="176"/>
                        </a:lnTo>
                        <a:lnTo>
                          <a:pt x="90" y="176"/>
                        </a:lnTo>
                        <a:lnTo>
                          <a:pt x="89" y="176"/>
                        </a:lnTo>
                        <a:lnTo>
                          <a:pt x="87" y="176"/>
                        </a:lnTo>
                        <a:lnTo>
                          <a:pt x="86" y="176"/>
                        </a:lnTo>
                        <a:lnTo>
                          <a:pt x="85" y="176"/>
                        </a:lnTo>
                        <a:lnTo>
                          <a:pt x="82" y="176"/>
                        </a:lnTo>
                        <a:lnTo>
                          <a:pt x="80" y="176"/>
                        </a:lnTo>
                        <a:lnTo>
                          <a:pt x="77" y="177"/>
                        </a:lnTo>
                        <a:lnTo>
                          <a:pt x="74" y="177"/>
                        </a:lnTo>
                        <a:lnTo>
                          <a:pt x="71" y="178"/>
                        </a:lnTo>
                        <a:lnTo>
                          <a:pt x="69" y="179"/>
                        </a:lnTo>
                        <a:lnTo>
                          <a:pt x="63" y="180"/>
                        </a:lnTo>
                        <a:lnTo>
                          <a:pt x="60" y="181"/>
                        </a:lnTo>
                        <a:lnTo>
                          <a:pt x="57" y="181"/>
                        </a:lnTo>
                        <a:lnTo>
                          <a:pt x="54" y="182"/>
                        </a:lnTo>
                        <a:lnTo>
                          <a:pt x="51" y="182"/>
                        </a:lnTo>
                        <a:lnTo>
                          <a:pt x="48" y="183"/>
                        </a:lnTo>
                        <a:lnTo>
                          <a:pt x="45" y="183"/>
                        </a:lnTo>
                        <a:lnTo>
                          <a:pt x="44" y="182"/>
                        </a:lnTo>
                        <a:lnTo>
                          <a:pt x="44" y="181"/>
                        </a:lnTo>
                        <a:lnTo>
                          <a:pt x="44" y="179"/>
                        </a:lnTo>
                        <a:lnTo>
                          <a:pt x="43" y="178"/>
                        </a:lnTo>
                        <a:lnTo>
                          <a:pt x="43" y="176"/>
                        </a:lnTo>
                        <a:lnTo>
                          <a:pt x="43" y="175"/>
                        </a:lnTo>
                        <a:lnTo>
                          <a:pt x="43" y="173"/>
                        </a:lnTo>
                        <a:lnTo>
                          <a:pt x="43" y="171"/>
                        </a:lnTo>
                        <a:lnTo>
                          <a:pt x="43" y="168"/>
                        </a:lnTo>
                        <a:lnTo>
                          <a:pt x="43" y="164"/>
                        </a:lnTo>
                        <a:lnTo>
                          <a:pt x="43" y="163"/>
                        </a:lnTo>
                        <a:lnTo>
                          <a:pt x="43" y="161"/>
                        </a:lnTo>
                        <a:lnTo>
                          <a:pt x="43" y="159"/>
                        </a:lnTo>
                        <a:lnTo>
                          <a:pt x="43" y="158"/>
                        </a:lnTo>
                        <a:lnTo>
                          <a:pt x="44" y="157"/>
                        </a:lnTo>
                        <a:lnTo>
                          <a:pt x="44" y="157"/>
                        </a:lnTo>
                        <a:lnTo>
                          <a:pt x="45" y="156"/>
                        </a:lnTo>
                        <a:lnTo>
                          <a:pt x="45" y="155"/>
                        </a:lnTo>
                        <a:lnTo>
                          <a:pt x="45" y="154"/>
                        </a:lnTo>
                        <a:lnTo>
                          <a:pt x="45" y="153"/>
                        </a:lnTo>
                        <a:lnTo>
                          <a:pt x="45" y="152"/>
                        </a:lnTo>
                        <a:lnTo>
                          <a:pt x="45" y="151"/>
                        </a:lnTo>
                        <a:lnTo>
                          <a:pt x="45" y="149"/>
                        </a:lnTo>
                        <a:lnTo>
                          <a:pt x="45" y="147"/>
                        </a:lnTo>
                        <a:lnTo>
                          <a:pt x="45" y="145"/>
                        </a:lnTo>
                        <a:lnTo>
                          <a:pt x="45" y="144"/>
                        </a:lnTo>
                        <a:lnTo>
                          <a:pt x="45" y="143"/>
                        </a:lnTo>
                        <a:lnTo>
                          <a:pt x="44" y="142"/>
                        </a:lnTo>
                        <a:lnTo>
                          <a:pt x="43" y="140"/>
                        </a:lnTo>
                        <a:lnTo>
                          <a:pt x="42" y="139"/>
                        </a:lnTo>
                        <a:lnTo>
                          <a:pt x="41" y="138"/>
                        </a:lnTo>
                        <a:lnTo>
                          <a:pt x="39" y="137"/>
                        </a:lnTo>
                        <a:lnTo>
                          <a:pt x="38" y="136"/>
                        </a:lnTo>
                        <a:lnTo>
                          <a:pt x="36" y="135"/>
                        </a:lnTo>
                        <a:lnTo>
                          <a:pt x="35" y="135"/>
                        </a:lnTo>
                        <a:lnTo>
                          <a:pt x="32" y="133"/>
                        </a:lnTo>
                        <a:lnTo>
                          <a:pt x="30" y="132"/>
                        </a:lnTo>
                        <a:lnTo>
                          <a:pt x="29" y="132"/>
                        </a:lnTo>
                        <a:lnTo>
                          <a:pt x="27" y="131"/>
                        </a:lnTo>
                        <a:lnTo>
                          <a:pt x="26" y="130"/>
                        </a:lnTo>
                        <a:lnTo>
                          <a:pt x="25" y="129"/>
                        </a:lnTo>
                        <a:lnTo>
                          <a:pt x="23" y="128"/>
                        </a:lnTo>
                        <a:lnTo>
                          <a:pt x="23" y="125"/>
                        </a:lnTo>
                        <a:lnTo>
                          <a:pt x="23" y="123"/>
                        </a:lnTo>
                        <a:lnTo>
                          <a:pt x="23" y="120"/>
                        </a:lnTo>
                        <a:lnTo>
                          <a:pt x="23" y="118"/>
                        </a:lnTo>
                        <a:lnTo>
                          <a:pt x="23" y="116"/>
                        </a:lnTo>
                        <a:lnTo>
                          <a:pt x="23" y="114"/>
                        </a:lnTo>
                        <a:lnTo>
                          <a:pt x="23" y="112"/>
                        </a:lnTo>
                        <a:lnTo>
                          <a:pt x="23" y="110"/>
                        </a:lnTo>
                        <a:lnTo>
                          <a:pt x="23" y="109"/>
                        </a:lnTo>
                        <a:lnTo>
                          <a:pt x="23" y="107"/>
                        </a:lnTo>
                        <a:lnTo>
                          <a:pt x="24" y="106"/>
                        </a:lnTo>
                        <a:lnTo>
                          <a:pt x="24" y="104"/>
                        </a:lnTo>
                        <a:lnTo>
                          <a:pt x="25" y="103"/>
                        </a:lnTo>
                        <a:lnTo>
                          <a:pt x="25" y="102"/>
                        </a:lnTo>
                        <a:lnTo>
                          <a:pt x="25" y="102"/>
                        </a:lnTo>
                        <a:lnTo>
                          <a:pt x="26" y="101"/>
                        </a:lnTo>
                        <a:lnTo>
                          <a:pt x="26" y="100"/>
                        </a:lnTo>
                        <a:lnTo>
                          <a:pt x="27" y="99"/>
                        </a:lnTo>
                        <a:lnTo>
                          <a:pt x="28" y="99"/>
                        </a:lnTo>
                        <a:lnTo>
                          <a:pt x="28" y="98"/>
                        </a:lnTo>
                        <a:lnTo>
                          <a:pt x="29" y="97"/>
                        </a:lnTo>
                        <a:lnTo>
                          <a:pt x="29" y="97"/>
                        </a:lnTo>
                        <a:lnTo>
                          <a:pt x="29" y="96"/>
                        </a:lnTo>
                        <a:lnTo>
                          <a:pt x="29" y="96"/>
                        </a:lnTo>
                        <a:lnTo>
                          <a:pt x="29" y="95"/>
                        </a:lnTo>
                        <a:lnTo>
                          <a:pt x="28" y="95"/>
                        </a:lnTo>
                        <a:lnTo>
                          <a:pt x="28" y="94"/>
                        </a:lnTo>
                        <a:lnTo>
                          <a:pt x="28" y="94"/>
                        </a:lnTo>
                        <a:lnTo>
                          <a:pt x="27" y="93"/>
                        </a:lnTo>
                        <a:lnTo>
                          <a:pt x="26" y="92"/>
                        </a:lnTo>
                        <a:lnTo>
                          <a:pt x="26" y="91"/>
                        </a:lnTo>
                        <a:lnTo>
                          <a:pt x="25" y="91"/>
                        </a:lnTo>
                        <a:lnTo>
                          <a:pt x="25" y="90"/>
                        </a:lnTo>
                        <a:lnTo>
                          <a:pt x="25" y="90"/>
                        </a:lnTo>
                        <a:lnTo>
                          <a:pt x="25" y="88"/>
                        </a:lnTo>
                        <a:lnTo>
                          <a:pt x="25" y="87"/>
                        </a:lnTo>
                        <a:lnTo>
                          <a:pt x="24" y="85"/>
                        </a:lnTo>
                        <a:lnTo>
                          <a:pt x="24" y="84"/>
                        </a:lnTo>
                        <a:lnTo>
                          <a:pt x="24" y="83"/>
                        </a:lnTo>
                        <a:lnTo>
                          <a:pt x="25" y="82"/>
                        </a:lnTo>
                        <a:lnTo>
                          <a:pt x="25" y="80"/>
                        </a:lnTo>
                        <a:lnTo>
                          <a:pt x="25" y="79"/>
                        </a:lnTo>
                        <a:lnTo>
                          <a:pt x="25" y="78"/>
                        </a:lnTo>
                        <a:lnTo>
                          <a:pt x="26" y="76"/>
                        </a:lnTo>
                        <a:lnTo>
                          <a:pt x="26" y="74"/>
                        </a:lnTo>
                        <a:lnTo>
                          <a:pt x="27" y="72"/>
                        </a:lnTo>
                        <a:lnTo>
                          <a:pt x="28" y="70"/>
                        </a:lnTo>
                        <a:lnTo>
                          <a:pt x="28" y="69"/>
                        </a:lnTo>
                        <a:lnTo>
                          <a:pt x="28" y="69"/>
                        </a:lnTo>
                        <a:lnTo>
                          <a:pt x="27" y="68"/>
                        </a:lnTo>
                        <a:lnTo>
                          <a:pt x="27" y="68"/>
                        </a:lnTo>
                        <a:lnTo>
                          <a:pt x="26" y="67"/>
                        </a:lnTo>
                        <a:lnTo>
                          <a:pt x="25" y="67"/>
                        </a:lnTo>
                        <a:lnTo>
                          <a:pt x="24" y="66"/>
                        </a:lnTo>
                        <a:lnTo>
                          <a:pt x="23" y="66"/>
                        </a:lnTo>
                        <a:lnTo>
                          <a:pt x="22" y="65"/>
                        </a:lnTo>
                        <a:lnTo>
                          <a:pt x="21" y="65"/>
                        </a:lnTo>
                        <a:lnTo>
                          <a:pt x="20" y="65"/>
                        </a:lnTo>
                        <a:lnTo>
                          <a:pt x="19" y="65"/>
                        </a:lnTo>
                        <a:lnTo>
                          <a:pt x="18" y="65"/>
                        </a:lnTo>
                        <a:lnTo>
                          <a:pt x="17" y="65"/>
                        </a:lnTo>
                        <a:lnTo>
                          <a:pt x="16" y="65"/>
                        </a:lnTo>
                        <a:lnTo>
                          <a:pt x="16" y="66"/>
                        </a:lnTo>
                        <a:lnTo>
                          <a:pt x="15" y="66"/>
                        </a:lnTo>
                        <a:lnTo>
                          <a:pt x="15" y="66"/>
                        </a:lnTo>
                        <a:lnTo>
                          <a:pt x="14" y="66"/>
                        </a:lnTo>
                        <a:lnTo>
                          <a:pt x="14" y="66"/>
                        </a:lnTo>
                        <a:lnTo>
                          <a:pt x="13" y="65"/>
                        </a:lnTo>
                        <a:lnTo>
                          <a:pt x="12" y="64"/>
                        </a:lnTo>
                        <a:lnTo>
                          <a:pt x="11" y="63"/>
                        </a:lnTo>
                        <a:lnTo>
                          <a:pt x="10" y="62"/>
                        </a:lnTo>
                        <a:lnTo>
                          <a:pt x="10" y="60"/>
                        </a:lnTo>
                        <a:lnTo>
                          <a:pt x="8" y="58"/>
                        </a:lnTo>
                        <a:lnTo>
                          <a:pt x="8" y="57"/>
                        </a:lnTo>
                        <a:lnTo>
                          <a:pt x="7" y="55"/>
                        </a:lnTo>
                        <a:lnTo>
                          <a:pt x="6" y="54"/>
                        </a:lnTo>
                        <a:lnTo>
                          <a:pt x="5" y="54"/>
                        </a:lnTo>
                        <a:lnTo>
                          <a:pt x="4" y="53"/>
                        </a:lnTo>
                        <a:lnTo>
                          <a:pt x="4" y="52"/>
                        </a:lnTo>
                        <a:lnTo>
                          <a:pt x="3" y="52"/>
                        </a:lnTo>
                        <a:lnTo>
                          <a:pt x="2" y="52"/>
                        </a:lnTo>
                        <a:lnTo>
                          <a:pt x="2" y="52"/>
                        </a:lnTo>
                        <a:lnTo>
                          <a:pt x="1" y="51"/>
                        </a:lnTo>
                        <a:lnTo>
                          <a:pt x="0" y="51"/>
                        </a:lnTo>
                        <a:lnTo>
                          <a:pt x="0" y="51"/>
                        </a:lnTo>
                        <a:lnTo>
                          <a:pt x="0" y="51"/>
                        </a:lnTo>
                        <a:lnTo>
                          <a:pt x="0" y="50"/>
                        </a:lnTo>
                        <a:lnTo>
                          <a:pt x="0" y="50"/>
                        </a:lnTo>
                        <a:lnTo>
                          <a:pt x="0" y="49"/>
                        </a:lnTo>
                        <a:lnTo>
                          <a:pt x="0" y="48"/>
                        </a:lnTo>
                        <a:lnTo>
                          <a:pt x="1" y="47"/>
                        </a:lnTo>
                        <a:lnTo>
                          <a:pt x="1" y="46"/>
                        </a:lnTo>
                        <a:lnTo>
                          <a:pt x="2" y="46"/>
                        </a:lnTo>
                        <a:lnTo>
                          <a:pt x="2" y="45"/>
                        </a:lnTo>
                        <a:lnTo>
                          <a:pt x="3" y="43"/>
                        </a:lnTo>
                        <a:lnTo>
                          <a:pt x="4" y="42"/>
                        </a:lnTo>
                        <a:lnTo>
                          <a:pt x="5" y="41"/>
                        </a:lnTo>
                        <a:lnTo>
                          <a:pt x="5" y="40"/>
                        </a:lnTo>
                        <a:lnTo>
                          <a:pt x="6" y="40"/>
                        </a:lnTo>
                        <a:lnTo>
                          <a:pt x="6" y="39"/>
                        </a:lnTo>
                        <a:lnTo>
                          <a:pt x="7" y="38"/>
                        </a:lnTo>
                        <a:lnTo>
                          <a:pt x="10" y="38"/>
                        </a:lnTo>
                        <a:lnTo>
                          <a:pt x="12" y="38"/>
                        </a:lnTo>
                        <a:lnTo>
                          <a:pt x="15" y="38"/>
                        </a:lnTo>
                        <a:lnTo>
                          <a:pt x="18" y="38"/>
                        </a:lnTo>
                        <a:lnTo>
                          <a:pt x="19" y="37"/>
                        </a:lnTo>
                        <a:lnTo>
                          <a:pt x="20" y="36"/>
                        </a:lnTo>
                        <a:lnTo>
                          <a:pt x="21" y="35"/>
                        </a:lnTo>
                        <a:lnTo>
                          <a:pt x="22" y="33"/>
                        </a:lnTo>
                        <a:lnTo>
                          <a:pt x="23" y="31"/>
                        </a:lnTo>
                        <a:lnTo>
                          <a:pt x="25" y="28"/>
                        </a:lnTo>
                        <a:lnTo>
                          <a:pt x="25" y="27"/>
                        </a:lnTo>
                        <a:lnTo>
                          <a:pt x="25" y="26"/>
                        </a:lnTo>
                        <a:lnTo>
                          <a:pt x="25" y="25"/>
                        </a:lnTo>
                        <a:lnTo>
                          <a:pt x="25" y="24"/>
                        </a:lnTo>
                        <a:lnTo>
                          <a:pt x="25" y="23"/>
                        </a:lnTo>
                        <a:lnTo>
                          <a:pt x="25" y="23"/>
                        </a:lnTo>
                        <a:lnTo>
                          <a:pt x="25" y="21"/>
                        </a:lnTo>
                        <a:lnTo>
                          <a:pt x="24" y="21"/>
                        </a:lnTo>
                        <a:lnTo>
                          <a:pt x="24" y="20"/>
                        </a:lnTo>
                        <a:lnTo>
                          <a:pt x="24" y="19"/>
                        </a:lnTo>
                        <a:lnTo>
                          <a:pt x="24" y="18"/>
                        </a:lnTo>
                        <a:lnTo>
                          <a:pt x="24" y="18"/>
                        </a:lnTo>
                        <a:lnTo>
                          <a:pt x="24" y="17"/>
                        </a:lnTo>
                        <a:lnTo>
                          <a:pt x="24" y="17"/>
                        </a:lnTo>
                        <a:lnTo>
                          <a:pt x="25" y="17"/>
                        </a:lnTo>
                        <a:lnTo>
                          <a:pt x="25" y="16"/>
                        </a:lnTo>
                        <a:lnTo>
                          <a:pt x="25" y="16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accent1"/>
                    </a:solidFill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algn="ctr" defTabSz="914308">
                      <a:defRPr/>
                    </a:pPr>
                    <a:endParaRPr lang="en-US" sz="900" kern="0" dirty="0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latin typeface="Times New Roman" pitchFamily="18" charset="0"/>
                      <a:cs typeface="Times New Roman" pitchFamily="18" charset="0"/>
                    </a:endParaRPr>
                  </a:p>
                </p:txBody>
              </p:sp>
              <p:sp>
                <p:nvSpPr>
                  <p:cNvPr id="311" name="Freeform 8"/>
                  <p:cNvSpPr>
                    <a:spLocks/>
                  </p:cNvSpPr>
                  <p:nvPr/>
                </p:nvSpPr>
                <p:spPr bwMode="auto">
                  <a:xfrm>
                    <a:off x="2507833" y="2776476"/>
                    <a:ext cx="2272313" cy="1379333"/>
                  </a:xfrm>
                  <a:custGeom>
                    <a:avLst/>
                    <a:gdLst/>
                    <a:ahLst/>
                    <a:cxnLst>
                      <a:cxn ang="0">
                        <a:pos x="218" y="2"/>
                      </a:cxn>
                      <a:cxn ang="0">
                        <a:pos x="219" y="9"/>
                      </a:cxn>
                      <a:cxn ang="0">
                        <a:pos x="232" y="15"/>
                      </a:cxn>
                      <a:cxn ang="0">
                        <a:pos x="242" y="23"/>
                      </a:cxn>
                      <a:cxn ang="0">
                        <a:pos x="241" y="28"/>
                      </a:cxn>
                      <a:cxn ang="0">
                        <a:pos x="244" y="29"/>
                      </a:cxn>
                      <a:cxn ang="0">
                        <a:pos x="250" y="22"/>
                      </a:cxn>
                      <a:cxn ang="0">
                        <a:pos x="264" y="20"/>
                      </a:cxn>
                      <a:cxn ang="0">
                        <a:pos x="271" y="9"/>
                      </a:cxn>
                      <a:cxn ang="0">
                        <a:pos x="282" y="6"/>
                      </a:cxn>
                      <a:cxn ang="0">
                        <a:pos x="293" y="17"/>
                      </a:cxn>
                      <a:cxn ang="0">
                        <a:pos x="291" y="27"/>
                      </a:cxn>
                      <a:cxn ang="0">
                        <a:pos x="285" y="35"/>
                      </a:cxn>
                      <a:cxn ang="0">
                        <a:pos x="286" y="40"/>
                      </a:cxn>
                      <a:cxn ang="0">
                        <a:pos x="290" y="50"/>
                      </a:cxn>
                      <a:cxn ang="0">
                        <a:pos x="292" y="64"/>
                      </a:cxn>
                      <a:cxn ang="0">
                        <a:pos x="295" y="70"/>
                      </a:cxn>
                      <a:cxn ang="0">
                        <a:pos x="290" y="79"/>
                      </a:cxn>
                      <a:cxn ang="0">
                        <a:pos x="293" y="84"/>
                      </a:cxn>
                      <a:cxn ang="0">
                        <a:pos x="298" y="92"/>
                      </a:cxn>
                      <a:cxn ang="0">
                        <a:pos x="293" y="96"/>
                      </a:cxn>
                      <a:cxn ang="0">
                        <a:pos x="291" y="110"/>
                      </a:cxn>
                      <a:cxn ang="0">
                        <a:pos x="296" y="115"/>
                      </a:cxn>
                      <a:cxn ang="0">
                        <a:pos x="303" y="114"/>
                      </a:cxn>
                      <a:cxn ang="0">
                        <a:pos x="304" y="120"/>
                      </a:cxn>
                      <a:cxn ang="0">
                        <a:pos x="299" y="129"/>
                      </a:cxn>
                      <a:cxn ang="0">
                        <a:pos x="256" y="134"/>
                      </a:cxn>
                      <a:cxn ang="0">
                        <a:pos x="237" y="146"/>
                      </a:cxn>
                      <a:cxn ang="0">
                        <a:pos x="229" y="159"/>
                      </a:cxn>
                      <a:cxn ang="0">
                        <a:pos x="193" y="169"/>
                      </a:cxn>
                      <a:cxn ang="0">
                        <a:pos x="131" y="172"/>
                      </a:cxn>
                      <a:cxn ang="0">
                        <a:pos x="123" y="169"/>
                      </a:cxn>
                      <a:cxn ang="0">
                        <a:pos x="92" y="169"/>
                      </a:cxn>
                      <a:cxn ang="0">
                        <a:pos x="73" y="168"/>
                      </a:cxn>
                      <a:cxn ang="0">
                        <a:pos x="46" y="165"/>
                      </a:cxn>
                      <a:cxn ang="0">
                        <a:pos x="20" y="148"/>
                      </a:cxn>
                      <a:cxn ang="0">
                        <a:pos x="4" y="142"/>
                      </a:cxn>
                      <a:cxn ang="0">
                        <a:pos x="3" y="130"/>
                      </a:cxn>
                      <a:cxn ang="0">
                        <a:pos x="20" y="119"/>
                      </a:cxn>
                      <a:cxn ang="0">
                        <a:pos x="26" y="109"/>
                      </a:cxn>
                      <a:cxn ang="0">
                        <a:pos x="24" y="101"/>
                      </a:cxn>
                      <a:cxn ang="0">
                        <a:pos x="30" y="94"/>
                      </a:cxn>
                      <a:cxn ang="0">
                        <a:pos x="42" y="81"/>
                      </a:cxn>
                      <a:cxn ang="0">
                        <a:pos x="55" y="82"/>
                      </a:cxn>
                      <a:cxn ang="0">
                        <a:pos x="70" y="72"/>
                      </a:cxn>
                      <a:cxn ang="0">
                        <a:pos x="73" y="66"/>
                      </a:cxn>
                      <a:cxn ang="0">
                        <a:pos x="81" y="56"/>
                      </a:cxn>
                      <a:cxn ang="0">
                        <a:pos x="99" y="37"/>
                      </a:cxn>
                      <a:cxn ang="0">
                        <a:pos x="103" y="29"/>
                      </a:cxn>
                      <a:cxn ang="0">
                        <a:pos x="107" y="24"/>
                      </a:cxn>
                      <a:cxn ang="0">
                        <a:pos x="115" y="21"/>
                      </a:cxn>
                      <a:cxn ang="0">
                        <a:pos x="123" y="27"/>
                      </a:cxn>
                      <a:cxn ang="0">
                        <a:pos x="128" y="29"/>
                      </a:cxn>
                      <a:cxn ang="0">
                        <a:pos x="133" y="35"/>
                      </a:cxn>
                      <a:cxn ang="0">
                        <a:pos x="148" y="37"/>
                      </a:cxn>
                      <a:cxn ang="0">
                        <a:pos x="157" y="29"/>
                      </a:cxn>
                      <a:cxn ang="0">
                        <a:pos x="164" y="22"/>
                      </a:cxn>
                      <a:cxn ang="0">
                        <a:pos x="171" y="20"/>
                      </a:cxn>
                      <a:cxn ang="0">
                        <a:pos x="174" y="27"/>
                      </a:cxn>
                      <a:cxn ang="0">
                        <a:pos x="182" y="26"/>
                      </a:cxn>
                      <a:cxn ang="0">
                        <a:pos x="186" y="20"/>
                      </a:cxn>
                      <a:cxn ang="0">
                        <a:pos x="192" y="15"/>
                      </a:cxn>
                      <a:cxn ang="0">
                        <a:pos x="204" y="6"/>
                      </a:cxn>
                    </a:cxnLst>
                    <a:rect l="0" t="0" r="r" b="b"/>
                    <a:pathLst>
                      <a:path w="304" h="172">
                        <a:moveTo>
                          <a:pt x="215" y="0"/>
                        </a:moveTo>
                        <a:lnTo>
                          <a:pt x="215" y="0"/>
                        </a:lnTo>
                        <a:lnTo>
                          <a:pt x="215" y="0"/>
                        </a:lnTo>
                        <a:lnTo>
                          <a:pt x="215" y="0"/>
                        </a:lnTo>
                        <a:lnTo>
                          <a:pt x="216" y="0"/>
                        </a:lnTo>
                        <a:lnTo>
                          <a:pt x="216" y="0"/>
                        </a:lnTo>
                        <a:lnTo>
                          <a:pt x="216" y="0"/>
                        </a:lnTo>
                        <a:lnTo>
                          <a:pt x="217" y="1"/>
                        </a:lnTo>
                        <a:lnTo>
                          <a:pt x="217" y="2"/>
                        </a:lnTo>
                        <a:lnTo>
                          <a:pt x="218" y="2"/>
                        </a:lnTo>
                        <a:lnTo>
                          <a:pt x="218" y="3"/>
                        </a:lnTo>
                        <a:lnTo>
                          <a:pt x="218" y="4"/>
                        </a:lnTo>
                        <a:lnTo>
                          <a:pt x="219" y="4"/>
                        </a:lnTo>
                        <a:lnTo>
                          <a:pt x="219" y="5"/>
                        </a:lnTo>
                        <a:lnTo>
                          <a:pt x="219" y="6"/>
                        </a:lnTo>
                        <a:lnTo>
                          <a:pt x="219" y="6"/>
                        </a:lnTo>
                        <a:lnTo>
                          <a:pt x="219" y="7"/>
                        </a:lnTo>
                        <a:lnTo>
                          <a:pt x="219" y="8"/>
                        </a:lnTo>
                        <a:lnTo>
                          <a:pt x="219" y="9"/>
                        </a:lnTo>
                        <a:lnTo>
                          <a:pt x="219" y="9"/>
                        </a:lnTo>
                        <a:lnTo>
                          <a:pt x="219" y="10"/>
                        </a:lnTo>
                        <a:lnTo>
                          <a:pt x="218" y="11"/>
                        </a:lnTo>
                        <a:lnTo>
                          <a:pt x="218" y="12"/>
                        </a:lnTo>
                        <a:lnTo>
                          <a:pt x="220" y="12"/>
                        </a:lnTo>
                        <a:lnTo>
                          <a:pt x="221" y="13"/>
                        </a:lnTo>
                        <a:lnTo>
                          <a:pt x="223" y="13"/>
                        </a:lnTo>
                        <a:lnTo>
                          <a:pt x="224" y="13"/>
                        </a:lnTo>
                        <a:lnTo>
                          <a:pt x="227" y="14"/>
                        </a:lnTo>
                        <a:lnTo>
                          <a:pt x="231" y="15"/>
                        </a:lnTo>
                        <a:lnTo>
                          <a:pt x="232" y="15"/>
                        </a:lnTo>
                        <a:lnTo>
                          <a:pt x="234" y="16"/>
                        </a:lnTo>
                        <a:lnTo>
                          <a:pt x="235" y="17"/>
                        </a:lnTo>
                        <a:lnTo>
                          <a:pt x="237" y="17"/>
                        </a:lnTo>
                        <a:lnTo>
                          <a:pt x="238" y="18"/>
                        </a:lnTo>
                        <a:lnTo>
                          <a:pt x="239" y="19"/>
                        </a:lnTo>
                        <a:lnTo>
                          <a:pt x="240" y="20"/>
                        </a:lnTo>
                        <a:lnTo>
                          <a:pt x="241" y="21"/>
                        </a:lnTo>
                        <a:lnTo>
                          <a:pt x="241" y="21"/>
                        </a:lnTo>
                        <a:lnTo>
                          <a:pt x="242" y="22"/>
                        </a:lnTo>
                        <a:lnTo>
                          <a:pt x="242" y="23"/>
                        </a:lnTo>
                        <a:lnTo>
                          <a:pt x="242" y="24"/>
                        </a:lnTo>
                        <a:lnTo>
                          <a:pt x="242" y="25"/>
                        </a:lnTo>
                        <a:lnTo>
                          <a:pt x="242" y="25"/>
                        </a:lnTo>
                        <a:lnTo>
                          <a:pt x="241" y="26"/>
                        </a:lnTo>
                        <a:lnTo>
                          <a:pt x="241" y="26"/>
                        </a:lnTo>
                        <a:lnTo>
                          <a:pt x="241" y="27"/>
                        </a:lnTo>
                        <a:lnTo>
                          <a:pt x="241" y="27"/>
                        </a:lnTo>
                        <a:lnTo>
                          <a:pt x="241" y="28"/>
                        </a:lnTo>
                        <a:lnTo>
                          <a:pt x="241" y="28"/>
                        </a:lnTo>
                        <a:lnTo>
                          <a:pt x="241" y="28"/>
                        </a:lnTo>
                        <a:lnTo>
                          <a:pt x="242" y="28"/>
                        </a:lnTo>
                        <a:lnTo>
                          <a:pt x="242" y="28"/>
                        </a:lnTo>
                        <a:lnTo>
                          <a:pt x="242" y="29"/>
                        </a:lnTo>
                        <a:lnTo>
                          <a:pt x="242" y="29"/>
                        </a:lnTo>
                        <a:lnTo>
                          <a:pt x="243" y="29"/>
                        </a:lnTo>
                        <a:lnTo>
                          <a:pt x="243" y="29"/>
                        </a:lnTo>
                        <a:lnTo>
                          <a:pt x="243" y="29"/>
                        </a:lnTo>
                        <a:lnTo>
                          <a:pt x="244" y="29"/>
                        </a:lnTo>
                        <a:lnTo>
                          <a:pt x="244" y="29"/>
                        </a:lnTo>
                        <a:lnTo>
                          <a:pt x="244" y="29"/>
                        </a:lnTo>
                        <a:lnTo>
                          <a:pt x="244" y="29"/>
                        </a:lnTo>
                        <a:lnTo>
                          <a:pt x="245" y="28"/>
                        </a:lnTo>
                        <a:lnTo>
                          <a:pt x="245" y="28"/>
                        </a:lnTo>
                        <a:lnTo>
                          <a:pt x="246" y="27"/>
                        </a:lnTo>
                        <a:lnTo>
                          <a:pt x="246" y="27"/>
                        </a:lnTo>
                        <a:lnTo>
                          <a:pt x="247" y="26"/>
                        </a:lnTo>
                        <a:lnTo>
                          <a:pt x="248" y="25"/>
                        </a:lnTo>
                        <a:lnTo>
                          <a:pt x="248" y="24"/>
                        </a:lnTo>
                        <a:lnTo>
                          <a:pt x="249" y="23"/>
                        </a:lnTo>
                        <a:lnTo>
                          <a:pt x="250" y="22"/>
                        </a:lnTo>
                        <a:lnTo>
                          <a:pt x="250" y="22"/>
                        </a:lnTo>
                        <a:lnTo>
                          <a:pt x="251" y="21"/>
                        </a:lnTo>
                        <a:lnTo>
                          <a:pt x="252" y="21"/>
                        </a:lnTo>
                        <a:lnTo>
                          <a:pt x="252" y="21"/>
                        </a:lnTo>
                        <a:lnTo>
                          <a:pt x="253" y="20"/>
                        </a:lnTo>
                        <a:lnTo>
                          <a:pt x="253" y="20"/>
                        </a:lnTo>
                        <a:lnTo>
                          <a:pt x="258" y="20"/>
                        </a:lnTo>
                        <a:lnTo>
                          <a:pt x="263" y="20"/>
                        </a:lnTo>
                        <a:lnTo>
                          <a:pt x="264" y="20"/>
                        </a:lnTo>
                        <a:lnTo>
                          <a:pt x="264" y="20"/>
                        </a:lnTo>
                        <a:lnTo>
                          <a:pt x="265" y="19"/>
                        </a:lnTo>
                        <a:lnTo>
                          <a:pt x="266" y="18"/>
                        </a:lnTo>
                        <a:lnTo>
                          <a:pt x="267" y="17"/>
                        </a:lnTo>
                        <a:lnTo>
                          <a:pt x="268" y="16"/>
                        </a:lnTo>
                        <a:lnTo>
                          <a:pt x="268" y="15"/>
                        </a:lnTo>
                        <a:lnTo>
                          <a:pt x="269" y="14"/>
                        </a:lnTo>
                        <a:lnTo>
                          <a:pt x="270" y="13"/>
                        </a:lnTo>
                        <a:lnTo>
                          <a:pt x="270" y="12"/>
                        </a:lnTo>
                        <a:lnTo>
                          <a:pt x="271" y="10"/>
                        </a:lnTo>
                        <a:lnTo>
                          <a:pt x="271" y="9"/>
                        </a:lnTo>
                        <a:lnTo>
                          <a:pt x="272" y="8"/>
                        </a:lnTo>
                        <a:lnTo>
                          <a:pt x="273" y="7"/>
                        </a:lnTo>
                        <a:lnTo>
                          <a:pt x="274" y="7"/>
                        </a:lnTo>
                        <a:lnTo>
                          <a:pt x="274" y="6"/>
                        </a:lnTo>
                        <a:lnTo>
                          <a:pt x="275" y="6"/>
                        </a:lnTo>
                        <a:lnTo>
                          <a:pt x="276" y="6"/>
                        </a:lnTo>
                        <a:lnTo>
                          <a:pt x="276" y="5"/>
                        </a:lnTo>
                        <a:lnTo>
                          <a:pt x="278" y="5"/>
                        </a:lnTo>
                        <a:lnTo>
                          <a:pt x="280" y="6"/>
                        </a:lnTo>
                        <a:lnTo>
                          <a:pt x="282" y="6"/>
                        </a:lnTo>
                        <a:lnTo>
                          <a:pt x="284" y="7"/>
                        </a:lnTo>
                        <a:lnTo>
                          <a:pt x="285" y="7"/>
                        </a:lnTo>
                        <a:lnTo>
                          <a:pt x="287" y="8"/>
                        </a:lnTo>
                        <a:lnTo>
                          <a:pt x="288" y="9"/>
                        </a:lnTo>
                        <a:lnTo>
                          <a:pt x="289" y="10"/>
                        </a:lnTo>
                        <a:lnTo>
                          <a:pt x="290" y="11"/>
                        </a:lnTo>
                        <a:lnTo>
                          <a:pt x="291" y="12"/>
                        </a:lnTo>
                        <a:lnTo>
                          <a:pt x="292" y="14"/>
                        </a:lnTo>
                        <a:lnTo>
                          <a:pt x="293" y="15"/>
                        </a:lnTo>
                        <a:lnTo>
                          <a:pt x="293" y="17"/>
                        </a:lnTo>
                        <a:lnTo>
                          <a:pt x="294" y="19"/>
                        </a:lnTo>
                        <a:lnTo>
                          <a:pt x="294" y="20"/>
                        </a:lnTo>
                        <a:lnTo>
                          <a:pt x="294" y="22"/>
                        </a:lnTo>
                        <a:lnTo>
                          <a:pt x="294" y="23"/>
                        </a:lnTo>
                        <a:lnTo>
                          <a:pt x="293" y="23"/>
                        </a:lnTo>
                        <a:lnTo>
                          <a:pt x="293" y="24"/>
                        </a:lnTo>
                        <a:lnTo>
                          <a:pt x="292" y="24"/>
                        </a:lnTo>
                        <a:lnTo>
                          <a:pt x="292" y="25"/>
                        </a:lnTo>
                        <a:lnTo>
                          <a:pt x="291" y="25"/>
                        </a:lnTo>
                        <a:lnTo>
                          <a:pt x="291" y="27"/>
                        </a:lnTo>
                        <a:lnTo>
                          <a:pt x="290" y="28"/>
                        </a:lnTo>
                        <a:lnTo>
                          <a:pt x="289" y="29"/>
                        </a:lnTo>
                        <a:lnTo>
                          <a:pt x="289" y="31"/>
                        </a:lnTo>
                        <a:lnTo>
                          <a:pt x="288" y="31"/>
                        </a:lnTo>
                        <a:lnTo>
                          <a:pt x="288" y="32"/>
                        </a:lnTo>
                        <a:lnTo>
                          <a:pt x="288" y="32"/>
                        </a:lnTo>
                        <a:lnTo>
                          <a:pt x="287" y="33"/>
                        </a:lnTo>
                        <a:lnTo>
                          <a:pt x="286" y="33"/>
                        </a:lnTo>
                        <a:lnTo>
                          <a:pt x="285" y="34"/>
                        </a:lnTo>
                        <a:lnTo>
                          <a:pt x="285" y="35"/>
                        </a:lnTo>
                        <a:lnTo>
                          <a:pt x="284" y="35"/>
                        </a:lnTo>
                        <a:lnTo>
                          <a:pt x="284" y="35"/>
                        </a:lnTo>
                        <a:lnTo>
                          <a:pt x="284" y="36"/>
                        </a:lnTo>
                        <a:lnTo>
                          <a:pt x="284" y="36"/>
                        </a:lnTo>
                        <a:lnTo>
                          <a:pt x="284" y="37"/>
                        </a:lnTo>
                        <a:lnTo>
                          <a:pt x="284" y="37"/>
                        </a:lnTo>
                        <a:lnTo>
                          <a:pt x="284" y="38"/>
                        </a:lnTo>
                        <a:lnTo>
                          <a:pt x="284" y="39"/>
                        </a:lnTo>
                        <a:lnTo>
                          <a:pt x="285" y="39"/>
                        </a:lnTo>
                        <a:lnTo>
                          <a:pt x="286" y="40"/>
                        </a:lnTo>
                        <a:lnTo>
                          <a:pt x="287" y="41"/>
                        </a:lnTo>
                        <a:lnTo>
                          <a:pt x="287" y="41"/>
                        </a:lnTo>
                        <a:lnTo>
                          <a:pt x="288" y="42"/>
                        </a:lnTo>
                        <a:lnTo>
                          <a:pt x="288" y="43"/>
                        </a:lnTo>
                        <a:lnTo>
                          <a:pt x="289" y="44"/>
                        </a:lnTo>
                        <a:lnTo>
                          <a:pt x="289" y="44"/>
                        </a:lnTo>
                        <a:lnTo>
                          <a:pt x="289" y="45"/>
                        </a:lnTo>
                        <a:lnTo>
                          <a:pt x="290" y="46"/>
                        </a:lnTo>
                        <a:lnTo>
                          <a:pt x="290" y="48"/>
                        </a:lnTo>
                        <a:lnTo>
                          <a:pt x="290" y="50"/>
                        </a:lnTo>
                        <a:lnTo>
                          <a:pt x="290" y="52"/>
                        </a:lnTo>
                        <a:lnTo>
                          <a:pt x="290" y="54"/>
                        </a:lnTo>
                        <a:lnTo>
                          <a:pt x="291" y="56"/>
                        </a:lnTo>
                        <a:lnTo>
                          <a:pt x="291" y="58"/>
                        </a:lnTo>
                        <a:lnTo>
                          <a:pt x="291" y="60"/>
                        </a:lnTo>
                        <a:lnTo>
                          <a:pt x="291" y="61"/>
                        </a:lnTo>
                        <a:lnTo>
                          <a:pt x="291" y="61"/>
                        </a:lnTo>
                        <a:lnTo>
                          <a:pt x="292" y="62"/>
                        </a:lnTo>
                        <a:lnTo>
                          <a:pt x="292" y="63"/>
                        </a:lnTo>
                        <a:lnTo>
                          <a:pt x="292" y="64"/>
                        </a:lnTo>
                        <a:lnTo>
                          <a:pt x="293" y="65"/>
                        </a:lnTo>
                        <a:lnTo>
                          <a:pt x="293" y="66"/>
                        </a:lnTo>
                        <a:lnTo>
                          <a:pt x="294" y="67"/>
                        </a:lnTo>
                        <a:lnTo>
                          <a:pt x="294" y="68"/>
                        </a:lnTo>
                        <a:lnTo>
                          <a:pt x="294" y="68"/>
                        </a:lnTo>
                        <a:lnTo>
                          <a:pt x="294" y="69"/>
                        </a:lnTo>
                        <a:lnTo>
                          <a:pt x="295" y="69"/>
                        </a:lnTo>
                        <a:lnTo>
                          <a:pt x="295" y="69"/>
                        </a:lnTo>
                        <a:lnTo>
                          <a:pt x="295" y="70"/>
                        </a:lnTo>
                        <a:lnTo>
                          <a:pt x="295" y="70"/>
                        </a:lnTo>
                        <a:lnTo>
                          <a:pt x="294" y="71"/>
                        </a:lnTo>
                        <a:lnTo>
                          <a:pt x="294" y="72"/>
                        </a:lnTo>
                        <a:lnTo>
                          <a:pt x="294" y="73"/>
                        </a:lnTo>
                        <a:lnTo>
                          <a:pt x="293" y="73"/>
                        </a:lnTo>
                        <a:lnTo>
                          <a:pt x="293" y="74"/>
                        </a:lnTo>
                        <a:lnTo>
                          <a:pt x="291" y="76"/>
                        </a:lnTo>
                        <a:lnTo>
                          <a:pt x="291" y="77"/>
                        </a:lnTo>
                        <a:lnTo>
                          <a:pt x="290" y="77"/>
                        </a:lnTo>
                        <a:lnTo>
                          <a:pt x="290" y="78"/>
                        </a:lnTo>
                        <a:lnTo>
                          <a:pt x="290" y="79"/>
                        </a:lnTo>
                        <a:lnTo>
                          <a:pt x="290" y="79"/>
                        </a:lnTo>
                        <a:lnTo>
                          <a:pt x="290" y="80"/>
                        </a:lnTo>
                        <a:lnTo>
                          <a:pt x="290" y="80"/>
                        </a:lnTo>
                        <a:lnTo>
                          <a:pt x="290" y="80"/>
                        </a:lnTo>
                        <a:lnTo>
                          <a:pt x="290" y="81"/>
                        </a:lnTo>
                        <a:lnTo>
                          <a:pt x="290" y="82"/>
                        </a:lnTo>
                        <a:lnTo>
                          <a:pt x="291" y="83"/>
                        </a:lnTo>
                        <a:lnTo>
                          <a:pt x="291" y="83"/>
                        </a:lnTo>
                        <a:lnTo>
                          <a:pt x="292" y="84"/>
                        </a:lnTo>
                        <a:lnTo>
                          <a:pt x="293" y="84"/>
                        </a:lnTo>
                        <a:lnTo>
                          <a:pt x="294" y="85"/>
                        </a:lnTo>
                        <a:lnTo>
                          <a:pt x="295" y="86"/>
                        </a:lnTo>
                        <a:lnTo>
                          <a:pt x="295" y="87"/>
                        </a:lnTo>
                        <a:lnTo>
                          <a:pt x="296" y="87"/>
                        </a:lnTo>
                        <a:lnTo>
                          <a:pt x="297" y="88"/>
                        </a:lnTo>
                        <a:lnTo>
                          <a:pt x="297" y="89"/>
                        </a:lnTo>
                        <a:lnTo>
                          <a:pt x="298" y="90"/>
                        </a:lnTo>
                        <a:lnTo>
                          <a:pt x="298" y="91"/>
                        </a:lnTo>
                        <a:lnTo>
                          <a:pt x="298" y="92"/>
                        </a:lnTo>
                        <a:lnTo>
                          <a:pt x="298" y="92"/>
                        </a:lnTo>
                        <a:lnTo>
                          <a:pt x="298" y="93"/>
                        </a:lnTo>
                        <a:lnTo>
                          <a:pt x="297" y="93"/>
                        </a:lnTo>
                        <a:lnTo>
                          <a:pt x="297" y="94"/>
                        </a:lnTo>
                        <a:lnTo>
                          <a:pt x="296" y="94"/>
                        </a:lnTo>
                        <a:lnTo>
                          <a:pt x="296" y="95"/>
                        </a:lnTo>
                        <a:lnTo>
                          <a:pt x="295" y="95"/>
                        </a:lnTo>
                        <a:lnTo>
                          <a:pt x="295" y="95"/>
                        </a:lnTo>
                        <a:lnTo>
                          <a:pt x="294" y="95"/>
                        </a:lnTo>
                        <a:lnTo>
                          <a:pt x="294" y="95"/>
                        </a:lnTo>
                        <a:lnTo>
                          <a:pt x="293" y="96"/>
                        </a:lnTo>
                        <a:lnTo>
                          <a:pt x="293" y="96"/>
                        </a:lnTo>
                        <a:lnTo>
                          <a:pt x="292" y="96"/>
                        </a:lnTo>
                        <a:lnTo>
                          <a:pt x="292" y="97"/>
                        </a:lnTo>
                        <a:lnTo>
                          <a:pt x="292" y="97"/>
                        </a:lnTo>
                        <a:lnTo>
                          <a:pt x="292" y="98"/>
                        </a:lnTo>
                        <a:lnTo>
                          <a:pt x="292" y="101"/>
                        </a:lnTo>
                        <a:lnTo>
                          <a:pt x="292" y="103"/>
                        </a:lnTo>
                        <a:lnTo>
                          <a:pt x="292" y="105"/>
                        </a:lnTo>
                        <a:lnTo>
                          <a:pt x="291" y="107"/>
                        </a:lnTo>
                        <a:lnTo>
                          <a:pt x="291" y="110"/>
                        </a:lnTo>
                        <a:lnTo>
                          <a:pt x="291" y="112"/>
                        </a:lnTo>
                        <a:lnTo>
                          <a:pt x="291" y="115"/>
                        </a:lnTo>
                        <a:lnTo>
                          <a:pt x="291" y="117"/>
                        </a:lnTo>
                        <a:lnTo>
                          <a:pt x="292" y="117"/>
                        </a:lnTo>
                        <a:lnTo>
                          <a:pt x="293" y="117"/>
                        </a:lnTo>
                        <a:lnTo>
                          <a:pt x="293" y="117"/>
                        </a:lnTo>
                        <a:lnTo>
                          <a:pt x="294" y="116"/>
                        </a:lnTo>
                        <a:lnTo>
                          <a:pt x="295" y="116"/>
                        </a:lnTo>
                        <a:lnTo>
                          <a:pt x="295" y="115"/>
                        </a:lnTo>
                        <a:lnTo>
                          <a:pt x="296" y="115"/>
                        </a:lnTo>
                        <a:lnTo>
                          <a:pt x="297" y="114"/>
                        </a:lnTo>
                        <a:lnTo>
                          <a:pt x="297" y="114"/>
                        </a:lnTo>
                        <a:lnTo>
                          <a:pt x="298" y="114"/>
                        </a:lnTo>
                        <a:lnTo>
                          <a:pt x="299" y="113"/>
                        </a:lnTo>
                        <a:lnTo>
                          <a:pt x="300" y="113"/>
                        </a:lnTo>
                        <a:lnTo>
                          <a:pt x="301" y="113"/>
                        </a:lnTo>
                        <a:lnTo>
                          <a:pt x="302" y="113"/>
                        </a:lnTo>
                        <a:lnTo>
                          <a:pt x="302" y="113"/>
                        </a:lnTo>
                        <a:lnTo>
                          <a:pt x="303" y="114"/>
                        </a:lnTo>
                        <a:lnTo>
                          <a:pt x="303" y="114"/>
                        </a:lnTo>
                        <a:lnTo>
                          <a:pt x="304" y="115"/>
                        </a:lnTo>
                        <a:lnTo>
                          <a:pt x="304" y="116"/>
                        </a:lnTo>
                        <a:lnTo>
                          <a:pt x="304" y="116"/>
                        </a:lnTo>
                        <a:lnTo>
                          <a:pt x="304" y="117"/>
                        </a:lnTo>
                        <a:lnTo>
                          <a:pt x="304" y="117"/>
                        </a:lnTo>
                        <a:lnTo>
                          <a:pt x="304" y="118"/>
                        </a:lnTo>
                        <a:lnTo>
                          <a:pt x="304" y="118"/>
                        </a:lnTo>
                        <a:lnTo>
                          <a:pt x="304" y="119"/>
                        </a:lnTo>
                        <a:lnTo>
                          <a:pt x="304" y="119"/>
                        </a:lnTo>
                        <a:lnTo>
                          <a:pt x="304" y="120"/>
                        </a:lnTo>
                        <a:lnTo>
                          <a:pt x="303" y="121"/>
                        </a:lnTo>
                        <a:lnTo>
                          <a:pt x="302" y="122"/>
                        </a:lnTo>
                        <a:lnTo>
                          <a:pt x="302" y="123"/>
                        </a:lnTo>
                        <a:lnTo>
                          <a:pt x="301" y="124"/>
                        </a:lnTo>
                        <a:lnTo>
                          <a:pt x="300" y="125"/>
                        </a:lnTo>
                        <a:lnTo>
                          <a:pt x="300" y="126"/>
                        </a:lnTo>
                        <a:lnTo>
                          <a:pt x="300" y="127"/>
                        </a:lnTo>
                        <a:lnTo>
                          <a:pt x="300" y="128"/>
                        </a:lnTo>
                        <a:lnTo>
                          <a:pt x="299" y="128"/>
                        </a:lnTo>
                        <a:lnTo>
                          <a:pt x="299" y="129"/>
                        </a:lnTo>
                        <a:lnTo>
                          <a:pt x="299" y="130"/>
                        </a:lnTo>
                        <a:lnTo>
                          <a:pt x="299" y="130"/>
                        </a:lnTo>
                        <a:lnTo>
                          <a:pt x="299" y="131"/>
                        </a:lnTo>
                        <a:lnTo>
                          <a:pt x="299" y="132"/>
                        </a:lnTo>
                        <a:lnTo>
                          <a:pt x="290" y="132"/>
                        </a:lnTo>
                        <a:lnTo>
                          <a:pt x="281" y="132"/>
                        </a:lnTo>
                        <a:lnTo>
                          <a:pt x="272" y="132"/>
                        </a:lnTo>
                        <a:lnTo>
                          <a:pt x="263" y="132"/>
                        </a:lnTo>
                        <a:lnTo>
                          <a:pt x="260" y="133"/>
                        </a:lnTo>
                        <a:lnTo>
                          <a:pt x="256" y="134"/>
                        </a:lnTo>
                        <a:lnTo>
                          <a:pt x="253" y="136"/>
                        </a:lnTo>
                        <a:lnTo>
                          <a:pt x="250" y="137"/>
                        </a:lnTo>
                        <a:lnTo>
                          <a:pt x="247" y="139"/>
                        </a:lnTo>
                        <a:lnTo>
                          <a:pt x="244" y="140"/>
                        </a:lnTo>
                        <a:lnTo>
                          <a:pt x="243" y="141"/>
                        </a:lnTo>
                        <a:lnTo>
                          <a:pt x="242" y="142"/>
                        </a:lnTo>
                        <a:lnTo>
                          <a:pt x="240" y="143"/>
                        </a:lnTo>
                        <a:lnTo>
                          <a:pt x="239" y="144"/>
                        </a:lnTo>
                        <a:lnTo>
                          <a:pt x="238" y="145"/>
                        </a:lnTo>
                        <a:lnTo>
                          <a:pt x="237" y="146"/>
                        </a:lnTo>
                        <a:lnTo>
                          <a:pt x="236" y="147"/>
                        </a:lnTo>
                        <a:lnTo>
                          <a:pt x="235" y="148"/>
                        </a:lnTo>
                        <a:lnTo>
                          <a:pt x="234" y="150"/>
                        </a:lnTo>
                        <a:lnTo>
                          <a:pt x="233" y="151"/>
                        </a:lnTo>
                        <a:lnTo>
                          <a:pt x="232" y="152"/>
                        </a:lnTo>
                        <a:lnTo>
                          <a:pt x="231" y="153"/>
                        </a:lnTo>
                        <a:lnTo>
                          <a:pt x="230" y="155"/>
                        </a:lnTo>
                        <a:lnTo>
                          <a:pt x="230" y="156"/>
                        </a:lnTo>
                        <a:lnTo>
                          <a:pt x="229" y="157"/>
                        </a:lnTo>
                        <a:lnTo>
                          <a:pt x="229" y="159"/>
                        </a:lnTo>
                        <a:lnTo>
                          <a:pt x="228" y="161"/>
                        </a:lnTo>
                        <a:lnTo>
                          <a:pt x="228" y="162"/>
                        </a:lnTo>
                        <a:lnTo>
                          <a:pt x="228" y="164"/>
                        </a:lnTo>
                        <a:lnTo>
                          <a:pt x="228" y="165"/>
                        </a:lnTo>
                        <a:lnTo>
                          <a:pt x="222" y="166"/>
                        </a:lnTo>
                        <a:lnTo>
                          <a:pt x="216" y="167"/>
                        </a:lnTo>
                        <a:lnTo>
                          <a:pt x="211" y="168"/>
                        </a:lnTo>
                        <a:lnTo>
                          <a:pt x="205" y="168"/>
                        </a:lnTo>
                        <a:lnTo>
                          <a:pt x="199" y="169"/>
                        </a:lnTo>
                        <a:lnTo>
                          <a:pt x="193" y="169"/>
                        </a:lnTo>
                        <a:lnTo>
                          <a:pt x="187" y="170"/>
                        </a:lnTo>
                        <a:lnTo>
                          <a:pt x="181" y="171"/>
                        </a:lnTo>
                        <a:lnTo>
                          <a:pt x="175" y="171"/>
                        </a:lnTo>
                        <a:lnTo>
                          <a:pt x="169" y="171"/>
                        </a:lnTo>
                        <a:lnTo>
                          <a:pt x="163" y="172"/>
                        </a:lnTo>
                        <a:lnTo>
                          <a:pt x="157" y="172"/>
                        </a:lnTo>
                        <a:lnTo>
                          <a:pt x="150" y="172"/>
                        </a:lnTo>
                        <a:lnTo>
                          <a:pt x="144" y="172"/>
                        </a:lnTo>
                        <a:lnTo>
                          <a:pt x="138" y="172"/>
                        </a:lnTo>
                        <a:lnTo>
                          <a:pt x="131" y="172"/>
                        </a:lnTo>
                        <a:lnTo>
                          <a:pt x="131" y="171"/>
                        </a:lnTo>
                        <a:lnTo>
                          <a:pt x="131" y="171"/>
                        </a:lnTo>
                        <a:lnTo>
                          <a:pt x="130" y="170"/>
                        </a:lnTo>
                        <a:lnTo>
                          <a:pt x="130" y="170"/>
                        </a:lnTo>
                        <a:lnTo>
                          <a:pt x="130" y="169"/>
                        </a:lnTo>
                        <a:lnTo>
                          <a:pt x="129" y="169"/>
                        </a:lnTo>
                        <a:lnTo>
                          <a:pt x="128" y="169"/>
                        </a:lnTo>
                        <a:lnTo>
                          <a:pt x="128" y="169"/>
                        </a:lnTo>
                        <a:lnTo>
                          <a:pt x="125" y="169"/>
                        </a:lnTo>
                        <a:lnTo>
                          <a:pt x="123" y="169"/>
                        </a:lnTo>
                        <a:lnTo>
                          <a:pt x="120" y="169"/>
                        </a:lnTo>
                        <a:lnTo>
                          <a:pt x="118" y="169"/>
                        </a:lnTo>
                        <a:lnTo>
                          <a:pt x="112" y="168"/>
                        </a:lnTo>
                        <a:lnTo>
                          <a:pt x="107" y="168"/>
                        </a:lnTo>
                        <a:lnTo>
                          <a:pt x="104" y="168"/>
                        </a:lnTo>
                        <a:lnTo>
                          <a:pt x="102" y="168"/>
                        </a:lnTo>
                        <a:lnTo>
                          <a:pt x="99" y="168"/>
                        </a:lnTo>
                        <a:lnTo>
                          <a:pt x="97" y="168"/>
                        </a:lnTo>
                        <a:lnTo>
                          <a:pt x="94" y="169"/>
                        </a:lnTo>
                        <a:lnTo>
                          <a:pt x="92" y="169"/>
                        </a:lnTo>
                        <a:lnTo>
                          <a:pt x="90" y="169"/>
                        </a:lnTo>
                        <a:lnTo>
                          <a:pt x="89" y="170"/>
                        </a:lnTo>
                        <a:lnTo>
                          <a:pt x="88" y="170"/>
                        </a:lnTo>
                        <a:lnTo>
                          <a:pt x="86" y="170"/>
                        </a:lnTo>
                        <a:lnTo>
                          <a:pt x="84" y="169"/>
                        </a:lnTo>
                        <a:lnTo>
                          <a:pt x="82" y="169"/>
                        </a:lnTo>
                        <a:lnTo>
                          <a:pt x="80" y="169"/>
                        </a:lnTo>
                        <a:lnTo>
                          <a:pt x="78" y="168"/>
                        </a:lnTo>
                        <a:lnTo>
                          <a:pt x="75" y="168"/>
                        </a:lnTo>
                        <a:lnTo>
                          <a:pt x="73" y="168"/>
                        </a:lnTo>
                        <a:lnTo>
                          <a:pt x="71" y="168"/>
                        </a:lnTo>
                        <a:lnTo>
                          <a:pt x="66" y="168"/>
                        </a:lnTo>
                        <a:lnTo>
                          <a:pt x="61" y="168"/>
                        </a:lnTo>
                        <a:lnTo>
                          <a:pt x="58" y="169"/>
                        </a:lnTo>
                        <a:lnTo>
                          <a:pt x="56" y="169"/>
                        </a:lnTo>
                        <a:lnTo>
                          <a:pt x="54" y="169"/>
                        </a:lnTo>
                        <a:lnTo>
                          <a:pt x="51" y="169"/>
                        </a:lnTo>
                        <a:lnTo>
                          <a:pt x="50" y="167"/>
                        </a:lnTo>
                        <a:lnTo>
                          <a:pt x="48" y="166"/>
                        </a:lnTo>
                        <a:lnTo>
                          <a:pt x="46" y="165"/>
                        </a:lnTo>
                        <a:lnTo>
                          <a:pt x="44" y="163"/>
                        </a:lnTo>
                        <a:lnTo>
                          <a:pt x="40" y="161"/>
                        </a:lnTo>
                        <a:lnTo>
                          <a:pt x="36" y="158"/>
                        </a:lnTo>
                        <a:lnTo>
                          <a:pt x="33" y="156"/>
                        </a:lnTo>
                        <a:lnTo>
                          <a:pt x="29" y="154"/>
                        </a:lnTo>
                        <a:lnTo>
                          <a:pt x="27" y="152"/>
                        </a:lnTo>
                        <a:lnTo>
                          <a:pt x="25" y="151"/>
                        </a:lnTo>
                        <a:lnTo>
                          <a:pt x="23" y="150"/>
                        </a:lnTo>
                        <a:lnTo>
                          <a:pt x="22" y="149"/>
                        </a:lnTo>
                        <a:lnTo>
                          <a:pt x="20" y="148"/>
                        </a:lnTo>
                        <a:lnTo>
                          <a:pt x="18" y="148"/>
                        </a:lnTo>
                        <a:lnTo>
                          <a:pt x="16" y="148"/>
                        </a:lnTo>
                        <a:lnTo>
                          <a:pt x="14" y="147"/>
                        </a:lnTo>
                        <a:lnTo>
                          <a:pt x="12" y="147"/>
                        </a:lnTo>
                        <a:lnTo>
                          <a:pt x="11" y="146"/>
                        </a:lnTo>
                        <a:lnTo>
                          <a:pt x="9" y="145"/>
                        </a:lnTo>
                        <a:lnTo>
                          <a:pt x="8" y="145"/>
                        </a:lnTo>
                        <a:lnTo>
                          <a:pt x="6" y="144"/>
                        </a:lnTo>
                        <a:lnTo>
                          <a:pt x="5" y="143"/>
                        </a:lnTo>
                        <a:lnTo>
                          <a:pt x="4" y="142"/>
                        </a:lnTo>
                        <a:lnTo>
                          <a:pt x="3" y="141"/>
                        </a:lnTo>
                        <a:lnTo>
                          <a:pt x="2" y="140"/>
                        </a:lnTo>
                        <a:lnTo>
                          <a:pt x="1" y="138"/>
                        </a:lnTo>
                        <a:lnTo>
                          <a:pt x="0" y="137"/>
                        </a:lnTo>
                        <a:lnTo>
                          <a:pt x="0" y="135"/>
                        </a:lnTo>
                        <a:lnTo>
                          <a:pt x="0" y="134"/>
                        </a:lnTo>
                        <a:lnTo>
                          <a:pt x="1" y="133"/>
                        </a:lnTo>
                        <a:lnTo>
                          <a:pt x="2" y="132"/>
                        </a:lnTo>
                        <a:lnTo>
                          <a:pt x="2" y="131"/>
                        </a:lnTo>
                        <a:lnTo>
                          <a:pt x="3" y="130"/>
                        </a:lnTo>
                        <a:lnTo>
                          <a:pt x="4" y="130"/>
                        </a:lnTo>
                        <a:lnTo>
                          <a:pt x="5" y="129"/>
                        </a:lnTo>
                        <a:lnTo>
                          <a:pt x="6" y="128"/>
                        </a:lnTo>
                        <a:lnTo>
                          <a:pt x="8" y="127"/>
                        </a:lnTo>
                        <a:lnTo>
                          <a:pt x="10" y="126"/>
                        </a:lnTo>
                        <a:lnTo>
                          <a:pt x="12" y="124"/>
                        </a:lnTo>
                        <a:lnTo>
                          <a:pt x="14" y="123"/>
                        </a:lnTo>
                        <a:lnTo>
                          <a:pt x="16" y="122"/>
                        </a:lnTo>
                        <a:lnTo>
                          <a:pt x="18" y="120"/>
                        </a:lnTo>
                        <a:lnTo>
                          <a:pt x="20" y="119"/>
                        </a:lnTo>
                        <a:lnTo>
                          <a:pt x="21" y="118"/>
                        </a:lnTo>
                        <a:lnTo>
                          <a:pt x="22" y="117"/>
                        </a:lnTo>
                        <a:lnTo>
                          <a:pt x="23" y="117"/>
                        </a:lnTo>
                        <a:lnTo>
                          <a:pt x="23" y="116"/>
                        </a:lnTo>
                        <a:lnTo>
                          <a:pt x="24" y="115"/>
                        </a:lnTo>
                        <a:lnTo>
                          <a:pt x="25" y="114"/>
                        </a:lnTo>
                        <a:lnTo>
                          <a:pt x="25" y="112"/>
                        </a:lnTo>
                        <a:lnTo>
                          <a:pt x="26" y="111"/>
                        </a:lnTo>
                        <a:lnTo>
                          <a:pt x="26" y="110"/>
                        </a:lnTo>
                        <a:lnTo>
                          <a:pt x="26" y="109"/>
                        </a:lnTo>
                        <a:lnTo>
                          <a:pt x="26" y="108"/>
                        </a:lnTo>
                        <a:lnTo>
                          <a:pt x="26" y="108"/>
                        </a:lnTo>
                        <a:lnTo>
                          <a:pt x="25" y="107"/>
                        </a:lnTo>
                        <a:lnTo>
                          <a:pt x="25" y="106"/>
                        </a:lnTo>
                        <a:lnTo>
                          <a:pt x="25" y="106"/>
                        </a:lnTo>
                        <a:lnTo>
                          <a:pt x="25" y="105"/>
                        </a:lnTo>
                        <a:lnTo>
                          <a:pt x="25" y="104"/>
                        </a:lnTo>
                        <a:lnTo>
                          <a:pt x="24" y="102"/>
                        </a:lnTo>
                        <a:lnTo>
                          <a:pt x="24" y="102"/>
                        </a:lnTo>
                        <a:lnTo>
                          <a:pt x="24" y="101"/>
                        </a:lnTo>
                        <a:lnTo>
                          <a:pt x="24" y="100"/>
                        </a:lnTo>
                        <a:lnTo>
                          <a:pt x="24" y="100"/>
                        </a:lnTo>
                        <a:lnTo>
                          <a:pt x="23" y="99"/>
                        </a:lnTo>
                        <a:lnTo>
                          <a:pt x="23" y="99"/>
                        </a:lnTo>
                        <a:lnTo>
                          <a:pt x="24" y="98"/>
                        </a:lnTo>
                        <a:lnTo>
                          <a:pt x="26" y="97"/>
                        </a:lnTo>
                        <a:lnTo>
                          <a:pt x="27" y="96"/>
                        </a:lnTo>
                        <a:lnTo>
                          <a:pt x="28" y="95"/>
                        </a:lnTo>
                        <a:lnTo>
                          <a:pt x="29" y="95"/>
                        </a:lnTo>
                        <a:lnTo>
                          <a:pt x="30" y="94"/>
                        </a:lnTo>
                        <a:lnTo>
                          <a:pt x="31" y="93"/>
                        </a:lnTo>
                        <a:lnTo>
                          <a:pt x="32" y="91"/>
                        </a:lnTo>
                        <a:lnTo>
                          <a:pt x="33" y="89"/>
                        </a:lnTo>
                        <a:lnTo>
                          <a:pt x="35" y="87"/>
                        </a:lnTo>
                        <a:lnTo>
                          <a:pt x="36" y="84"/>
                        </a:lnTo>
                        <a:lnTo>
                          <a:pt x="38" y="82"/>
                        </a:lnTo>
                        <a:lnTo>
                          <a:pt x="39" y="82"/>
                        </a:lnTo>
                        <a:lnTo>
                          <a:pt x="40" y="81"/>
                        </a:lnTo>
                        <a:lnTo>
                          <a:pt x="41" y="81"/>
                        </a:lnTo>
                        <a:lnTo>
                          <a:pt x="42" y="81"/>
                        </a:lnTo>
                        <a:lnTo>
                          <a:pt x="43" y="81"/>
                        </a:lnTo>
                        <a:lnTo>
                          <a:pt x="44" y="81"/>
                        </a:lnTo>
                        <a:lnTo>
                          <a:pt x="46" y="82"/>
                        </a:lnTo>
                        <a:lnTo>
                          <a:pt x="47" y="82"/>
                        </a:lnTo>
                        <a:lnTo>
                          <a:pt x="48" y="82"/>
                        </a:lnTo>
                        <a:lnTo>
                          <a:pt x="49" y="82"/>
                        </a:lnTo>
                        <a:lnTo>
                          <a:pt x="51" y="82"/>
                        </a:lnTo>
                        <a:lnTo>
                          <a:pt x="52" y="82"/>
                        </a:lnTo>
                        <a:lnTo>
                          <a:pt x="54" y="82"/>
                        </a:lnTo>
                        <a:lnTo>
                          <a:pt x="55" y="82"/>
                        </a:lnTo>
                        <a:lnTo>
                          <a:pt x="56" y="82"/>
                        </a:lnTo>
                        <a:lnTo>
                          <a:pt x="57" y="81"/>
                        </a:lnTo>
                        <a:lnTo>
                          <a:pt x="58" y="81"/>
                        </a:lnTo>
                        <a:lnTo>
                          <a:pt x="60" y="80"/>
                        </a:lnTo>
                        <a:lnTo>
                          <a:pt x="62" y="78"/>
                        </a:lnTo>
                        <a:lnTo>
                          <a:pt x="64" y="77"/>
                        </a:lnTo>
                        <a:lnTo>
                          <a:pt x="66" y="76"/>
                        </a:lnTo>
                        <a:lnTo>
                          <a:pt x="67" y="74"/>
                        </a:lnTo>
                        <a:lnTo>
                          <a:pt x="69" y="73"/>
                        </a:lnTo>
                        <a:lnTo>
                          <a:pt x="70" y="72"/>
                        </a:lnTo>
                        <a:lnTo>
                          <a:pt x="71" y="72"/>
                        </a:lnTo>
                        <a:lnTo>
                          <a:pt x="71" y="71"/>
                        </a:lnTo>
                        <a:lnTo>
                          <a:pt x="71" y="70"/>
                        </a:lnTo>
                        <a:lnTo>
                          <a:pt x="71" y="70"/>
                        </a:lnTo>
                        <a:lnTo>
                          <a:pt x="71" y="69"/>
                        </a:lnTo>
                        <a:lnTo>
                          <a:pt x="71" y="68"/>
                        </a:lnTo>
                        <a:lnTo>
                          <a:pt x="72" y="68"/>
                        </a:lnTo>
                        <a:lnTo>
                          <a:pt x="72" y="67"/>
                        </a:lnTo>
                        <a:lnTo>
                          <a:pt x="73" y="66"/>
                        </a:lnTo>
                        <a:lnTo>
                          <a:pt x="73" y="66"/>
                        </a:lnTo>
                        <a:lnTo>
                          <a:pt x="73" y="65"/>
                        </a:lnTo>
                        <a:lnTo>
                          <a:pt x="73" y="64"/>
                        </a:lnTo>
                        <a:lnTo>
                          <a:pt x="73" y="64"/>
                        </a:lnTo>
                        <a:lnTo>
                          <a:pt x="73" y="63"/>
                        </a:lnTo>
                        <a:lnTo>
                          <a:pt x="73" y="62"/>
                        </a:lnTo>
                        <a:lnTo>
                          <a:pt x="74" y="61"/>
                        </a:lnTo>
                        <a:lnTo>
                          <a:pt x="75" y="61"/>
                        </a:lnTo>
                        <a:lnTo>
                          <a:pt x="78" y="59"/>
                        </a:lnTo>
                        <a:lnTo>
                          <a:pt x="79" y="58"/>
                        </a:lnTo>
                        <a:lnTo>
                          <a:pt x="81" y="56"/>
                        </a:lnTo>
                        <a:lnTo>
                          <a:pt x="83" y="54"/>
                        </a:lnTo>
                        <a:lnTo>
                          <a:pt x="85" y="53"/>
                        </a:lnTo>
                        <a:lnTo>
                          <a:pt x="86" y="51"/>
                        </a:lnTo>
                        <a:lnTo>
                          <a:pt x="88" y="49"/>
                        </a:lnTo>
                        <a:lnTo>
                          <a:pt x="91" y="45"/>
                        </a:lnTo>
                        <a:lnTo>
                          <a:pt x="93" y="43"/>
                        </a:lnTo>
                        <a:lnTo>
                          <a:pt x="94" y="42"/>
                        </a:lnTo>
                        <a:lnTo>
                          <a:pt x="96" y="40"/>
                        </a:lnTo>
                        <a:lnTo>
                          <a:pt x="98" y="38"/>
                        </a:lnTo>
                        <a:lnTo>
                          <a:pt x="99" y="37"/>
                        </a:lnTo>
                        <a:lnTo>
                          <a:pt x="101" y="35"/>
                        </a:lnTo>
                        <a:lnTo>
                          <a:pt x="101" y="35"/>
                        </a:lnTo>
                        <a:lnTo>
                          <a:pt x="101" y="34"/>
                        </a:lnTo>
                        <a:lnTo>
                          <a:pt x="101" y="33"/>
                        </a:lnTo>
                        <a:lnTo>
                          <a:pt x="101" y="32"/>
                        </a:lnTo>
                        <a:lnTo>
                          <a:pt x="101" y="32"/>
                        </a:lnTo>
                        <a:lnTo>
                          <a:pt x="102" y="31"/>
                        </a:lnTo>
                        <a:lnTo>
                          <a:pt x="102" y="30"/>
                        </a:lnTo>
                        <a:lnTo>
                          <a:pt x="103" y="29"/>
                        </a:lnTo>
                        <a:lnTo>
                          <a:pt x="103" y="29"/>
                        </a:lnTo>
                        <a:lnTo>
                          <a:pt x="103" y="28"/>
                        </a:lnTo>
                        <a:lnTo>
                          <a:pt x="103" y="28"/>
                        </a:lnTo>
                        <a:lnTo>
                          <a:pt x="103" y="27"/>
                        </a:lnTo>
                        <a:lnTo>
                          <a:pt x="103" y="26"/>
                        </a:lnTo>
                        <a:lnTo>
                          <a:pt x="103" y="25"/>
                        </a:lnTo>
                        <a:lnTo>
                          <a:pt x="104" y="25"/>
                        </a:lnTo>
                        <a:lnTo>
                          <a:pt x="105" y="25"/>
                        </a:lnTo>
                        <a:lnTo>
                          <a:pt x="106" y="25"/>
                        </a:lnTo>
                        <a:lnTo>
                          <a:pt x="107" y="25"/>
                        </a:lnTo>
                        <a:lnTo>
                          <a:pt x="107" y="24"/>
                        </a:lnTo>
                        <a:lnTo>
                          <a:pt x="108" y="24"/>
                        </a:lnTo>
                        <a:lnTo>
                          <a:pt x="109" y="23"/>
                        </a:lnTo>
                        <a:lnTo>
                          <a:pt x="110" y="22"/>
                        </a:lnTo>
                        <a:lnTo>
                          <a:pt x="111" y="22"/>
                        </a:lnTo>
                        <a:lnTo>
                          <a:pt x="111" y="21"/>
                        </a:lnTo>
                        <a:lnTo>
                          <a:pt x="112" y="21"/>
                        </a:lnTo>
                        <a:lnTo>
                          <a:pt x="113" y="21"/>
                        </a:lnTo>
                        <a:lnTo>
                          <a:pt x="114" y="20"/>
                        </a:lnTo>
                        <a:lnTo>
                          <a:pt x="115" y="20"/>
                        </a:lnTo>
                        <a:lnTo>
                          <a:pt x="115" y="21"/>
                        </a:lnTo>
                        <a:lnTo>
                          <a:pt x="116" y="21"/>
                        </a:lnTo>
                        <a:lnTo>
                          <a:pt x="117" y="22"/>
                        </a:lnTo>
                        <a:lnTo>
                          <a:pt x="117" y="23"/>
                        </a:lnTo>
                        <a:lnTo>
                          <a:pt x="118" y="24"/>
                        </a:lnTo>
                        <a:lnTo>
                          <a:pt x="119" y="25"/>
                        </a:lnTo>
                        <a:lnTo>
                          <a:pt x="120" y="26"/>
                        </a:lnTo>
                        <a:lnTo>
                          <a:pt x="120" y="26"/>
                        </a:lnTo>
                        <a:lnTo>
                          <a:pt x="121" y="27"/>
                        </a:lnTo>
                        <a:lnTo>
                          <a:pt x="122" y="27"/>
                        </a:lnTo>
                        <a:lnTo>
                          <a:pt x="123" y="27"/>
                        </a:lnTo>
                        <a:lnTo>
                          <a:pt x="124" y="27"/>
                        </a:lnTo>
                        <a:lnTo>
                          <a:pt x="124" y="27"/>
                        </a:lnTo>
                        <a:lnTo>
                          <a:pt x="125" y="27"/>
                        </a:lnTo>
                        <a:lnTo>
                          <a:pt x="126" y="27"/>
                        </a:lnTo>
                        <a:lnTo>
                          <a:pt x="126" y="27"/>
                        </a:lnTo>
                        <a:lnTo>
                          <a:pt x="127" y="27"/>
                        </a:lnTo>
                        <a:lnTo>
                          <a:pt x="128" y="27"/>
                        </a:lnTo>
                        <a:lnTo>
                          <a:pt x="128" y="28"/>
                        </a:lnTo>
                        <a:lnTo>
                          <a:pt x="128" y="29"/>
                        </a:lnTo>
                        <a:lnTo>
                          <a:pt x="128" y="29"/>
                        </a:lnTo>
                        <a:lnTo>
                          <a:pt x="128" y="30"/>
                        </a:lnTo>
                        <a:lnTo>
                          <a:pt x="128" y="30"/>
                        </a:lnTo>
                        <a:lnTo>
                          <a:pt x="129" y="31"/>
                        </a:lnTo>
                        <a:lnTo>
                          <a:pt x="129" y="32"/>
                        </a:lnTo>
                        <a:lnTo>
                          <a:pt x="130" y="32"/>
                        </a:lnTo>
                        <a:lnTo>
                          <a:pt x="130" y="33"/>
                        </a:lnTo>
                        <a:lnTo>
                          <a:pt x="131" y="34"/>
                        </a:lnTo>
                        <a:lnTo>
                          <a:pt x="131" y="35"/>
                        </a:lnTo>
                        <a:lnTo>
                          <a:pt x="131" y="35"/>
                        </a:lnTo>
                        <a:lnTo>
                          <a:pt x="133" y="35"/>
                        </a:lnTo>
                        <a:lnTo>
                          <a:pt x="134" y="35"/>
                        </a:lnTo>
                        <a:lnTo>
                          <a:pt x="136" y="35"/>
                        </a:lnTo>
                        <a:lnTo>
                          <a:pt x="137" y="35"/>
                        </a:lnTo>
                        <a:lnTo>
                          <a:pt x="138" y="36"/>
                        </a:lnTo>
                        <a:lnTo>
                          <a:pt x="140" y="36"/>
                        </a:lnTo>
                        <a:lnTo>
                          <a:pt x="142" y="36"/>
                        </a:lnTo>
                        <a:lnTo>
                          <a:pt x="144" y="37"/>
                        </a:lnTo>
                        <a:lnTo>
                          <a:pt x="146" y="37"/>
                        </a:lnTo>
                        <a:lnTo>
                          <a:pt x="147" y="37"/>
                        </a:lnTo>
                        <a:lnTo>
                          <a:pt x="148" y="37"/>
                        </a:lnTo>
                        <a:lnTo>
                          <a:pt x="150" y="37"/>
                        </a:lnTo>
                        <a:lnTo>
                          <a:pt x="151" y="37"/>
                        </a:lnTo>
                        <a:lnTo>
                          <a:pt x="153" y="37"/>
                        </a:lnTo>
                        <a:lnTo>
                          <a:pt x="154" y="36"/>
                        </a:lnTo>
                        <a:lnTo>
                          <a:pt x="154" y="35"/>
                        </a:lnTo>
                        <a:lnTo>
                          <a:pt x="155" y="35"/>
                        </a:lnTo>
                        <a:lnTo>
                          <a:pt x="155" y="34"/>
                        </a:lnTo>
                        <a:lnTo>
                          <a:pt x="156" y="33"/>
                        </a:lnTo>
                        <a:lnTo>
                          <a:pt x="156" y="31"/>
                        </a:lnTo>
                        <a:lnTo>
                          <a:pt x="157" y="29"/>
                        </a:lnTo>
                        <a:lnTo>
                          <a:pt x="157" y="27"/>
                        </a:lnTo>
                        <a:lnTo>
                          <a:pt x="158" y="26"/>
                        </a:lnTo>
                        <a:lnTo>
                          <a:pt x="158" y="25"/>
                        </a:lnTo>
                        <a:lnTo>
                          <a:pt x="159" y="24"/>
                        </a:lnTo>
                        <a:lnTo>
                          <a:pt x="160" y="23"/>
                        </a:lnTo>
                        <a:lnTo>
                          <a:pt x="160" y="23"/>
                        </a:lnTo>
                        <a:lnTo>
                          <a:pt x="161" y="22"/>
                        </a:lnTo>
                        <a:lnTo>
                          <a:pt x="162" y="22"/>
                        </a:lnTo>
                        <a:lnTo>
                          <a:pt x="163" y="22"/>
                        </a:lnTo>
                        <a:lnTo>
                          <a:pt x="164" y="22"/>
                        </a:lnTo>
                        <a:lnTo>
                          <a:pt x="165" y="22"/>
                        </a:lnTo>
                        <a:lnTo>
                          <a:pt x="165" y="22"/>
                        </a:lnTo>
                        <a:lnTo>
                          <a:pt x="166" y="22"/>
                        </a:lnTo>
                        <a:lnTo>
                          <a:pt x="167" y="21"/>
                        </a:lnTo>
                        <a:lnTo>
                          <a:pt x="168" y="20"/>
                        </a:lnTo>
                        <a:lnTo>
                          <a:pt x="169" y="20"/>
                        </a:lnTo>
                        <a:lnTo>
                          <a:pt x="170" y="19"/>
                        </a:lnTo>
                        <a:lnTo>
                          <a:pt x="171" y="19"/>
                        </a:lnTo>
                        <a:lnTo>
                          <a:pt x="171" y="19"/>
                        </a:lnTo>
                        <a:lnTo>
                          <a:pt x="171" y="20"/>
                        </a:lnTo>
                        <a:lnTo>
                          <a:pt x="171" y="22"/>
                        </a:lnTo>
                        <a:lnTo>
                          <a:pt x="171" y="23"/>
                        </a:lnTo>
                        <a:lnTo>
                          <a:pt x="171" y="24"/>
                        </a:lnTo>
                        <a:lnTo>
                          <a:pt x="171" y="24"/>
                        </a:lnTo>
                        <a:lnTo>
                          <a:pt x="172" y="25"/>
                        </a:lnTo>
                        <a:lnTo>
                          <a:pt x="172" y="25"/>
                        </a:lnTo>
                        <a:lnTo>
                          <a:pt x="172" y="26"/>
                        </a:lnTo>
                        <a:lnTo>
                          <a:pt x="173" y="26"/>
                        </a:lnTo>
                        <a:lnTo>
                          <a:pt x="173" y="27"/>
                        </a:lnTo>
                        <a:lnTo>
                          <a:pt x="174" y="27"/>
                        </a:lnTo>
                        <a:lnTo>
                          <a:pt x="175" y="27"/>
                        </a:lnTo>
                        <a:lnTo>
                          <a:pt x="175" y="27"/>
                        </a:lnTo>
                        <a:lnTo>
                          <a:pt x="176" y="27"/>
                        </a:lnTo>
                        <a:lnTo>
                          <a:pt x="177" y="27"/>
                        </a:lnTo>
                        <a:lnTo>
                          <a:pt x="178" y="27"/>
                        </a:lnTo>
                        <a:lnTo>
                          <a:pt x="179" y="27"/>
                        </a:lnTo>
                        <a:lnTo>
                          <a:pt x="180" y="27"/>
                        </a:lnTo>
                        <a:lnTo>
                          <a:pt x="181" y="27"/>
                        </a:lnTo>
                        <a:lnTo>
                          <a:pt x="181" y="26"/>
                        </a:lnTo>
                        <a:lnTo>
                          <a:pt x="182" y="26"/>
                        </a:lnTo>
                        <a:lnTo>
                          <a:pt x="182" y="26"/>
                        </a:lnTo>
                        <a:lnTo>
                          <a:pt x="183" y="25"/>
                        </a:lnTo>
                        <a:lnTo>
                          <a:pt x="183" y="25"/>
                        </a:lnTo>
                        <a:lnTo>
                          <a:pt x="184" y="24"/>
                        </a:lnTo>
                        <a:lnTo>
                          <a:pt x="184" y="23"/>
                        </a:lnTo>
                        <a:lnTo>
                          <a:pt x="184" y="23"/>
                        </a:lnTo>
                        <a:lnTo>
                          <a:pt x="184" y="22"/>
                        </a:lnTo>
                        <a:lnTo>
                          <a:pt x="185" y="21"/>
                        </a:lnTo>
                        <a:lnTo>
                          <a:pt x="185" y="20"/>
                        </a:lnTo>
                        <a:lnTo>
                          <a:pt x="186" y="20"/>
                        </a:lnTo>
                        <a:lnTo>
                          <a:pt x="187" y="20"/>
                        </a:lnTo>
                        <a:lnTo>
                          <a:pt x="187" y="20"/>
                        </a:lnTo>
                        <a:lnTo>
                          <a:pt x="188" y="20"/>
                        </a:lnTo>
                        <a:lnTo>
                          <a:pt x="189" y="19"/>
                        </a:lnTo>
                        <a:lnTo>
                          <a:pt x="189" y="19"/>
                        </a:lnTo>
                        <a:lnTo>
                          <a:pt x="190" y="18"/>
                        </a:lnTo>
                        <a:lnTo>
                          <a:pt x="190" y="18"/>
                        </a:lnTo>
                        <a:lnTo>
                          <a:pt x="191" y="16"/>
                        </a:lnTo>
                        <a:lnTo>
                          <a:pt x="191" y="16"/>
                        </a:lnTo>
                        <a:lnTo>
                          <a:pt x="192" y="15"/>
                        </a:lnTo>
                        <a:lnTo>
                          <a:pt x="192" y="15"/>
                        </a:lnTo>
                        <a:lnTo>
                          <a:pt x="193" y="14"/>
                        </a:lnTo>
                        <a:lnTo>
                          <a:pt x="194" y="14"/>
                        </a:lnTo>
                        <a:lnTo>
                          <a:pt x="195" y="14"/>
                        </a:lnTo>
                        <a:lnTo>
                          <a:pt x="196" y="13"/>
                        </a:lnTo>
                        <a:lnTo>
                          <a:pt x="197" y="12"/>
                        </a:lnTo>
                        <a:lnTo>
                          <a:pt x="198" y="11"/>
                        </a:lnTo>
                        <a:lnTo>
                          <a:pt x="199" y="10"/>
                        </a:lnTo>
                        <a:lnTo>
                          <a:pt x="201" y="8"/>
                        </a:lnTo>
                        <a:lnTo>
                          <a:pt x="204" y="6"/>
                        </a:lnTo>
                        <a:lnTo>
                          <a:pt x="205" y="5"/>
                        </a:lnTo>
                        <a:lnTo>
                          <a:pt x="206" y="5"/>
                        </a:lnTo>
                        <a:lnTo>
                          <a:pt x="207" y="4"/>
                        </a:lnTo>
                        <a:lnTo>
                          <a:pt x="209" y="3"/>
                        </a:lnTo>
                        <a:lnTo>
                          <a:pt x="210" y="2"/>
                        </a:lnTo>
                        <a:lnTo>
                          <a:pt x="211" y="1"/>
                        </a:lnTo>
                        <a:lnTo>
                          <a:pt x="213" y="1"/>
                        </a:lnTo>
                        <a:lnTo>
                          <a:pt x="215" y="0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accent1"/>
                    </a:solidFill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algn="ctr" defTabSz="914308">
                      <a:defRPr/>
                    </a:pPr>
                    <a:endParaRPr lang="en-US" sz="900" kern="0" dirty="0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latin typeface="Times New Roman" pitchFamily="18" charset="0"/>
                      <a:cs typeface="Times New Roman" pitchFamily="18" charset="0"/>
                    </a:endParaRPr>
                  </a:p>
                </p:txBody>
              </p:sp>
              <p:sp>
                <p:nvSpPr>
                  <p:cNvPr id="312" name="Freeform 9"/>
                  <p:cNvSpPr>
                    <a:spLocks/>
                  </p:cNvSpPr>
                  <p:nvPr/>
                </p:nvSpPr>
                <p:spPr bwMode="auto">
                  <a:xfrm>
                    <a:off x="57279" y="3112806"/>
                    <a:ext cx="1366857" cy="884285"/>
                  </a:xfrm>
                  <a:custGeom>
                    <a:avLst/>
                    <a:gdLst/>
                    <a:ahLst/>
                    <a:cxnLst>
                      <a:cxn ang="0">
                        <a:pos x="142" y="5"/>
                      </a:cxn>
                      <a:cxn ang="0">
                        <a:pos x="152" y="18"/>
                      </a:cxn>
                      <a:cxn ang="0">
                        <a:pos x="160" y="17"/>
                      </a:cxn>
                      <a:cxn ang="0">
                        <a:pos x="164" y="26"/>
                      </a:cxn>
                      <a:cxn ang="0">
                        <a:pos x="163" y="42"/>
                      </a:cxn>
                      <a:cxn ang="0">
                        <a:pos x="167" y="48"/>
                      </a:cxn>
                      <a:cxn ang="0">
                        <a:pos x="162" y="56"/>
                      </a:cxn>
                      <a:cxn ang="0">
                        <a:pos x="161" y="77"/>
                      </a:cxn>
                      <a:cxn ang="0">
                        <a:pos x="177" y="89"/>
                      </a:cxn>
                      <a:cxn ang="0">
                        <a:pos x="183" y="104"/>
                      </a:cxn>
                      <a:cxn ang="0">
                        <a:pos x="177" y="109"/>
                      </a:cxn>
                      <a:cxn ang="0">
                        <a:pos x="162" y="97"/>
                      </a:cxn>
                      <a:cxn ang="0">
                        <a:pos x="157" y="99"/>
                      </a:cxn>
                      <a:cxn ang="0">
                        <a:pos x="141" y="95"/>
                      </a:cxn>
                      <a:cxn ang="0">
                        <a:pos x="123" y="98"/>
                      </a:cxn>
                      <a:cxn ang="0">
                        <a:pos x="116" y="93"/>
                      </a:cxn>
                      <a:cxn ang="0">
                        <a:pos x="118" y="88"/>
                      </a:cxn>
                      <a:cxn ang="0">
                        <a:pos x="117" y="80"/>
                      </a:cxn>
                      <a:cxn ang="0">
                        <a:pos x="115" y="69"/>
                      </a:cxn>
                      <a:cxn ang="0">
                        <a:pos x="110" y="65"/>
                      </a:cxn>
                      <a:cxn ang="0">
                        <a:pos x="103" y="63"/>
                      </a:cxn>
                      <a:cxn ang="0">
                        <a:pos x="98" y="66"/>
                      </a:cxn>
                      <a:cxn ang="0">
                        <a:pos x="94" y="65"/>
                      </a:cxn>
                      <a:cxn ang="0">
                        <a:pos x="90" y="63"/>
                      </a:cxn>
                      <a:cxn ang="0">
                        <a:pos x="87" y="59"/>
                      </a:cxn>
                      <a:cxn ang="0">
                        <a:pos x="83" y="57"/>
                      </a:cxn>
                      <a:cxn ang="0">
                        <a:pos x="80" y="55"/>
                      </a:cxn>
                      <a:cxn ang="0">
                        <a:pos x="70" y="55"/>
                      </a:cxn>
                      <a:cxn ang="0">
                        <a:pos x="65" y="58"/>
                      </a:cxn>
                      <a:cxn ang="0">
                        <a:pos x="60" y="59"/>
                      </a:cxn>
                      <a:cxn ang="0">
                        <a:pos x="55" y="60"/>
                      </a:cxn>
                      <a:cxn ang="0">
                        <a:pos x="50" y="62"/>
                      </a:cxn>
                      <a:cxn ang="0">
                        <a:pos x="42" y="65"/>
                      </a:cxn>
                      <a:cxn ang="0">
                        <a:pos x="27" y="65"/>
                      </a:cxn>
                      <a:cxn ang="0">
                        <a:pos x="20" y="60"/>
                      </a:cxn>
                      <a:cxn ang="0">
                        <a:pos x="24" y="58"/>
                      </a:cxn>
                      <a:cxn ang="0">
                        <a:pos x="30" y="60"/>
                      </a:cxn>
                      <a:cxn ang="0">
                        <a:pos x="29" y="51"/>
                      </a:cxn>
                      <a:cxn ang="0">
                        <a:pos x="28" y="42"/>
                      </a:cxn>
                      <a:cxn ang="0">
                        <a:pos x="26" y="34"/>
                      </a:cxn>
                      <a:cxn ang="0">
                        <a:pos x="23" y="27"/>
                      </a:cxn>
                      <a:cxn ang="0">
                        <a:pos x="16" y="20"/>
                      </a:cxn>
                      <a:cxn ang="0">
                        <a:pos x="11" y="18"/>
                      </a:cxn>
                      <a:cxn ang="0">
                        <a:pos x="7" y="16"/>
                      </a:cxn>
                      <a:cxn ang="0">
                        <a:pos x="2" y="17"/>
                      </a:cxn>
                      <a:cxn ang="0">
                        <a:pos x="0" y="11"/>
                      </a:cxn>
                      <a:cxn ang="0">
                        <a:pos x="2" y="5"/>
                      </a:cxn>
                      <a:cxn ang="0">
                        <a:pos x="16" y="7"/>
                      </a:cxn>
                      <a:cxn ang="0">
                        <a:pos x="27" y="6"/>
                      </a:cxn>
                      <a:cxn ang="0">
                        <a:pos x="46" y="13"/>
                      </a:cxn>
                      <a:cxn ang="0">
                        <a:pos x="60" y="14"/>
                      </a:cxn>
                      <a:cxn ang="0">
                        <a:pos x="69" y="8"/>
                      </a:cxn>
                      <a:cxn ang="0">
                        <a:pos x="86" y="5"/>
                      </a:cxn>
                      <a:cxn ang="0">
                        <a:pos x="100" y="4"/>
                      </a:cxn>
                      <a:cxn ang="0">
                        <a:pos x="105" y="7"/>
                      </a:cxn>
                      <a:cxn ang="0">
                        <a:pos x="113" y="16"/>
                      </a:cxn>
                      <a:cxn ang="0">
                        <a:pos x="120" y="9"/>
                      </a:cxn>
                      <a:cxn ang="0">
                        <a:pos x="123" y="3"/>
                      </a:cxn>
                      <a:cxn ang="0">
                        <a:pos x="133" y="2"/>
                      </a:cxn>
                    </a:cxnLst>
                    <a:rect l="0" t="0" r="r" b="b"/>
                    <a:pathLst>
                      <a:path w="183" h="110">
                        <a:moveTo>
                          <a:pt x="138" y="2"/>
                        </a:moveTo>
                        <a:lnTo>
                          <a:pt x="138" y="2"/>
                        </a:lnTo>
                        <a:lnTo>
                          <a:pt x="138" y="2"/>
                        </a:lnTo>
                        <a:lnTo>
                          <a:pt x="138" y="3"/>
                        </a:lnTo>
                        <a:lnTo>
                          <a:pt x="138" y="3"/>
                        </a:lnTo>
                        <a:lnTo>
                          <a:pt x="139" y="3"/>
                        </a:lnTo>
                        <a:lnTo>
                          <a:pt x="140" y="4"/>
                        </a:lnTo>
                        <a:lnTo>
                          <a:pt x="140" y="4"/>
                        </a:lnTo>
                        <a:lnTo>
                          <a:pt x="141" y="4"/>
                        </a:lnTo>
                        <a:lnTo>
                          <a:pt x="142" y="4"/>
                        </a:lnTo>
                        <a:lnTo>
                          <a:pt x="142" y="5"/>
                        </a:lnTo>
                        <a:lnTo>
                          <a:pt x="143" y="5"/>
                        </a:lnTo>
                        <a:lnTo>
                          <a:pt x="144" y="6"/>
                        </a:lnTo>
                        <a:lnTo>
                          <a:pt x="145" y="7"/>
                        </a:lnTo>
                        <a:lnTo>
                          <a:pt x="146" y="9"/>
                        </a:lnTo>
                        <a:lnTo>
                          <a:pt x="146" y="10"/>
                        </a:lnTo>
                        <a:lnTo>
                          <a:pt x="148" y="12"/>
                        </a:lnTo>
                        <a:lnTo>
                          <a:pt x="148" y="14"/>
                        </a:lnTo>
                        <a:lnTo>
                          <a:pt x="149" y="15"/>
                        </a:lnTo>
                        <a:lnTo>
                          <a:pt x="150" y="16"/>
                        </a:lnTo>
                        <a:lnTo>
                          <a:pt x="151" y="17"/>
                        </a:lnTo>
                        <a:lnTo>
                          <a:pt x="152" y="18"/>
                        </a:lnTo>
                        <a:lnTo>
                          <a:pt x="152" y="18"/>
                        </a:lnTo>
                        <a:lnTo>
                          <a:pt x="153" y="18"/>
                        </a:lnTo>
                        <a:lnTo>
                          <a:pt x="153" y="18"/>
                        </a:lnTo>
                        <a:lnTo>
                          <a:pt x="154" y="18"/>
                        </a:lnTo>
                        <a:lnTo>
                          <a:pt x="154" y="17"/>
                        </a:lnTo>
                        <a:lnTo>
                          <a:pt x="155" y="17"/>
                        </a:lnTo>
                        <a:lnTo>
                          <a:pt x="156" y="17"/>
                        </a:lnTo>
                        <a:lnTo>
                          <a:pt x="157" y="17"/>
                        </a:lnTo>
                        <a:lnTo>
                          <a:pt x="158" y="17"/>
                        </a:lnTo>
                        <a:lnTo>
                          <a:pt x="159" y="17"/>
                        </a:lnTo>
                        <a:lnTo>
                          <a:pt x="160" y="17"/>
                        </a:lnTo>
                        <a:lnTo>
                          <a:pt x="161" y="18"/>
                        </a:lnTo>
                        <a:lnTo>
                          <a:pt x="162" y="18"/>
                        </a:lnTo>
                        <a:lnTo>
                          <a:pt x="163" y="19"/>
                        </a:lnTo>
                        <a:lnTo>
                          <a:pt x="164" y="19"/>
                        </a:lnTo>
                        <a:lnTo>
                          <a:pt x="165" y="20"/>
                        </a:lnTo>
                        <a:lnTo>
                          <a:pt x="165" y="20"/>
                        </a:lnTo>
                        <a:lnTo>
                          <a:pt x="166" y="21"/>
                        </a:lnTo>
                        <a:lnTo>
                          <a:pt x="166" y="21"/>
                        </a:lnTo>
                        <a:lnTo>
                          <a:pt x="166" y="22"/>
                        </a:lnTo>
                        <a:lnTo>
                          <a:pt x="165" y="24"/>
                        </a:lnTo>
                        <a:lnTo>
                          <a:pt x="164" y="26"/>
                        </a:lnTo>
                        <a:lnTo>
                          <a:pt x="164" y="28"/>
                        </a:lnTo>
                        <a:lnTo>
                          <a:pt x="163" y="30"/>
                        </a:lnTo>
                        <a:lnTo>
                          <a:pt x="163" y="31"/>
                        </a:lnTo>
                        <a:lnTo>
                          <a:pt x="163" y="32"/>
                        </a:lnTo>
                        <a:lnTo>
                          <a:pt x="163" y="33"/>
                        </a:lnTo>
                        <a:lnTo>
                          <a:pt x="162" y="35"/>
                        </a:lnTo>
                        <a:lnTo>
                          <a:pt x="162" y="36"/>
                        </a:lnTo>
                        <a:lnTo>
                          <a:pt x="162" y="37"/>
                        </a:lnTo>
                        <a:lnTo>
                          <a:pt x="163" y="39"/>
                        </a:lnTo>
                        <a:lnTo>
                          <a:pt x="163" y="40"/>
                        </a:lnTo>
                        <a:lnTo>
                          <a:pt x="163" y="42"/>
                        </a:lnTo>
                        <a:lnTo>
                          <a:pt x="163" y="42"/>
                        </a:lnTo>
                        <a:lnTo>
                          <a:pt x="163" y="43"/>
                        </a:lnTo>
                        <a:lnTo>
                          <a:pt x="164" y="43"/>
                        </a:lnTo>
                        <a:lnTo>
                          <a:pt x="164" y="44"/>
                        </a:lnTo>
                        <a:lnTo>
                          <a:pt x="165" y="45"/>
                        </a:lnTo>
                        <a:lnTo>
                          <a:pt x="166" y="46"/>
                        </a:lnTo>
                        <a:lnTo>
                          <a:pt x="166" y="46"/>
                        </a:lnTo>
                        <a:lnTo>
                          <a:pt x="166" y="47"/>
                        </a:lnTo>
                        <a:lnTo>
                          <a:pt x="167" y="47"/>
                        </a:lnTo>
                        <a:lnTo>
                          <a:pt x="167" y="48"/>
                        </a:lnTo>
                        <a:lnTo>
                          <a:pt x="167" y="48"/>
                        </a:lnTo>
                        <a:lnTo>
                          <a:pt x="167" y="49"/>
                        </a:lnTo>
                        <a:lnTo>
                          <a:pt x="167" y="49"/>
                        </a:lnTo>
                        <a:lnTo>
                          <a:pt x="166" y="50"/>
                        </a:lnTo>
                        <a:lnTo>
                          <a:pt x="166" y="51"/>
                        </a:lnTo>
                        <a:lnTo>
                          <a:pt x="165" y="51"/>
                        </a:lnTo>
                        <a:lnTo>
                          <a:pt x="164" y="52"/>
                        </a:lnTo>
                        <a:lnTo>
                          <a:pt x="164" y="53"/>
                        </a:lnTo>
                        <a:lnTo>
                          <a:pt x="163" y="54"/>
                        </a:lnTo>
                        <a:lnTo>
                          <a:pt x="163" y="54"/>
                        </a:lnTo>
                        <a:lnTo>
                          <a:pt x="163" y="55"/>
                        </a:lnTo>
                        <a:lnTo>
                          <a:pt x="162" y="56"/>
                        </a:lnTo>
                        <a:lnTo>
                          <a:pt x="162" y="58"/>
                        </a:lnTo>
                        <a:lnTo>
                          <a:pt x="161" y="59"/>
                        </a:lnTo>
                        <a:lnTo>
                          <a:pt x="161" y="61"/>
                        </a:lnTo>
                        <a:lnTo>
                          <a:pt x="161" y="62"/>
                        </a:lnTo>
                        <a:lnTo>
                          <a:pt x="161" y="64"/>
                        </a:lnTo>
                        <a:lnTo>
                          <a:pt x="161" y="66"/>
                        </a:lnTo>
                        <a:lnTo>
                          <a:pt x="161" y="68"/>
                        </a:lnTo>
                        <a:lnTo>
                          <a:pt x="161" y="70"/>
                        </a:lnTo>
                        <a:lnTo>
                          <a:pt x="161" y="72"/>
                        </a:lnTo>
                        <a:lnTo>
                          <a:pt x="161" y="75"/>
                        </a:lnTo>
                        <a:lnTo>
                          <a:pt x="161" y="77"/>
                        </a:lnTo>
                        <a:lnTo>
                          <a:pt x="161" y="80"/>
                        </a:lnTo>
                        <a:lnTo>
                          <a:pt x="163" y="81"/>
                        </a:lnTo>
                        <a:lnTo>
                          <a:pt x="164" y="82"/>
                        </a:lnTo>
                        <a:lnTo>
                          <a:pt x="165" y="83"/>
                        </a:lnTo>
                        <a:lnTo>
                          <a:pt x="167" y="84"/>
                        </a:lnTo>
                        <a:lnTo>
                          <a:pt x="168" y="84"/>
                        </a:lnTo>
                        <a:lnTo>
                          <a:pt x="170" y="85"/>
                        </a:lnTo>
                        <a:lnTo>
                          <a:pt x="173" y="87"/>
                        </a:lnTo>
                        <a:lnTo>
                          <a:pt x="174" y="87"/>
                        </a:lnTo>
                        <a:lnTo>
                          <a:pt x="176" y="88"/>
                        </a:lnTo>
                        <a:lnTo>
                          <a:pt x="177" y="89"/>
                        </a:lnTo>
                        <a:lnTo>
                          <a:pt x="179" y="90"/>
                        </a:lnTo>
                        <a:lnTo>
                          <a:pt x="180" y="91"/>
                        </a:lnTo>
                        <a:lnTo>
                          <a:pt x="181" y="92"/>
                        </a:lnTo>
                        <a:lnTo>
                          <a:pt x="182" y="94"/>
                        </a:lnTo>
                        <a:lnTo>
                          <a:pt x="183" y="95"/>
                        </a:lnTo>
                        <a:lnTo>
                          <a:pt x="183" y="96"/>
                        </a:lnTo>
                        <a:lnTo>
                          <a:pt x="183" y="97"/>
                        </a:lnTo>
                        <a:lnTo>
                          <a:pt x="183" y="99"/>
                        </a:lnTo>
                        <a:lnTo>
                          <a:pt x="183" y="101"/>
                        </a:lnTo>
                        <a:lnTo>
                          <a:pt x="183" y="103"/>
                        </a:lnTo>
                        <a:lnTo>
                          <a:pt x="183" y="104"/>
                        </a:lnTo>
                        <a:lnTo>
                          <a:pt x="183" y="105"/>
                        </a:lnTo>
                        <a:lnTo>
                          <a:pt x="183" y="106"/>
                        </a:lnTo>
                        <a:lnTo>
                          <a:pt x="183" y="107"/>
                        </a:lnTo>
                        <a:lnTo>
                          <a:pt x="182" y="108"/>
                        </a:lnTo>
                        <a:lnTo>
                          <a:pt x="182" y="109"/>
                        </a:lnTo>
                        <a:lnTo>
                          <a:pt x="182" y="109"/>
                        </a:lnTo>
                        <a:lnTo>
                          <a:pt x="181" y="110"/>
                        </a:lnTo>
                        <a:lnTo>
                          <a:pt x="180" y="110"/>
                        </a:lnTo>
                        <a:lnTo>
                          <a:pt x="179" y="110"/>
                        </a:lnTo>
                        <a:lnTo>
                          <a:pt x="178" y="110"/>
                        </a:lnTo>
                        <a:lnTo>
                          <a:pt x="177" y="109"/>
                        </a:lnTo>
                        <a:lnTo>
                          <a:pt x="175" y="109"/>
                        </a:lnTo>
                        <a:lnTo>
                          <a:pt x="174" y="108"/>
                        </a:lnTo>
                        <a:lnTo>
                          <a:pt x="172" y="107"/>
                        </a:lnTo>
                        <a:lnTo>
                          <a:pt x="171" y="107"/>
                        </a:lnTo>
                        <a:lnTo>
                          <a:pt x="169" y="106"/>
                        </a:lnTo>
                        <a:lnTo>
                          <a:pt x="168" y="105"/>
                        </a:lnTo>
                        <a:lnTo>
                          <a:pt x="167" y="103"/>
                        </a:lnTo>
                        <a:lnTo>
                          <a:pt x="166" y="102"/>
                        </a:lnTo>
                        <a:lnTo>
                          <a:pt x="165" y="101"/>
                        </a:lnTo>
                        <a:lnTo>
                          <a:pt x="164" y="100"/>
                        </a:lnTo>
                        <a:lnTo>
                          <a:pt x="162" y="97"/>
                        </a:lnTo>
                        <a:lnTo>
                          <a:pt x="161" y="96"/>
                        </a:lnTo>
                        <a:lnTo>
                          <a:pt x="160" y="95"/>
                        </a:lnTo>
                        <a:lnTo>
                          <a:pt x="159" y="95"/>
                        </a:lnTo>
                        <a:lnTo>
                          <a:pt x="159" y="95"/>
                        </a:lnTo>
                        <a:lnTo>
                          <a:pt x="158" y="95"/>
                        </a:lnTo>
                        <a:lnTo>
                          <a:pt x="158" y="96"/>
                        </a:lnTo>
                        <a:lnTo>
                          <a:pt x="158" y="96"/>
                        </a:lnTo>
                        <a:lnTo>
                          <a:pt x="158" y="97"/>
                        </a:lnTo>
                        <a:lnTo>
                          <a:pt x="157" y="98"/>
                        </a:lnTo>
                        <a:lnTo>
                          <a:pt x="157" y="98"/>
                        </a:lnTo>
                        <a:lnTo>
                          <a:pt x="157" y="99"/>
                        </a:lnTo>
                        <a:lnTo>
                          <a:pt x="156" y="99"/>
                        </a:lnTo>
                        <a:lnTo>
                          <a:pt x="156" y="100"/>
                        </a:lnTo>
                        <a:lnTo>
                          <a:pt x="156" y="100"/>
                        </a:lnTo>
                        <a:lnTo>
                          <a:pt x="155" y="100"/>
                        </a:lnTo>
                        <a:lnTo>
                          <a:pt x="155" y="100"/>
                        </a:lnTo>
                        <a:lnTo>
                          <a:pt x="151" y="99"/>
                        </a:lnTo>
                        <a:lnTo>
                          <a:pt x="148" y="98"/>
                        </a:lnTo>
                        <a:lnTo>
                          <a:pt x="146" y="97"/>
                        </a:lnTo>
                        <a:lnTo>
                          <a:pt x="144" y="96"/>
                        </a:lnTo>
                        <a:lnTo>
                          <a:pt x="143" y="96"/>
                        </a:lnTo>
                        <a:lnTo>
                          <a:pt x="141" y="95"/>
                        </a:lnTo>
                        <a:lnTo>
                          <a:pt x="139" y="96"/>
                        </a:lnTo>
                        <a:lnTo>
                          <a:pt x="136" y="97"/>
                        </a:lnTo>
                        <a:lnTo>
                          <a:pt x="135" y="97"/>
                        </a:lnTo>
                        <a:lnTo>
                          <a:pt x="134" y="97"/>
                        </a:lnTo>
                        <a:lnTo>
                          <a:pt x="132" y="98"/>
                        </a:lnTo>
                        <a:lnTo>
                          <a:pt x="131" y="98"/>
                        </a:lnTo>
                        <a:lnTo>
                          <a:pt x="129" y="98"/>
                        </a:lnTo>
                        <a:lnTo>
                          <a:pt x="128" y="98"/>
                        </a:lnTo>
                        <a:lnTo>
                          <a:pt x="126" y="98"/>
                        </a:lnTo>
                        <a:lnTo>
                          <a:pt x="125" y="98"/>
                        </a:lnTo>
                        <a:lnTo>
                          <a:pt x="123" y="98"/>
                        </a:lnTo>
                        <a:lnTo>
                          <a:pt x="121" y="98"/>
                        </a:lnTo>
                        <a:lnTo>
                          <a:pt x="120" y="98"/>
                        </a:lnTo>
                        <a:lnTo>
                          <a:pt x="118" y="98"/>
                        </a:lnTo>
                        <a:lnTo>
                          <a:pt x="118" y="97"/>
                        </a:lnTo>
                        <a:lnTo>
                          <a:pt x="117" y="97"/>
                        </a:lnTo>
                        <a:lnTo>
                          <a:pt x="117" y="96"/>
                        </a:lnTo>
                        <a:lnTo>
                          <a:pt x="117" y="95"/>
                        </a:lnTo>
                        <a:lnTo>
                          <a:pt x="116" y="95"/>
                        </a:lnTo>
                        <a:lnTo>
                          <a:pt x="116" y="94"/>
                        </a:lnTo>
                        <a:lnTo>
                          <a:pt x="116" y="93"/>
                        </a:lnTo>
                        <a:lnTo>
                          <a:pt x="116" y="93"/>
                        </a:lnTo>
                        <a:lnTo>
                          <a:pt x="116" y="92"/>
                        </a:lnTo>
                        <a:lnTo>
                          <a:pt x="116" y="91"/>
                        </a:lnTo>
                        <a:lnTo>
                          <a:pt x="117" y="91"/>
                        </a:lnTo>
                        <a:lnTo>
                          <a:pt x="117" y="91"/>
                        </a:lnTo>
                        <a:lnTo>
                          <a:pt x="117" y="91"/>
                        </a:lnTo>
                        <a:lnTo>
                          <a:pt x="117" y="91"/>
                        </a:lnTo>
                        <a:lnTo>
                          <a:pt x="118" y="90"/>
                        </a:lnTo>
                        <a:lnTo>
                          <a:pt x="118" y="90"/>
                        </a:lnTo>
                        <a:lnTo>
                          <a:pt x="118" y="89"/>
                        </a:lnTo>
                        <a:lnTo>
                          <a:pt x="118" y="89"/>
                        </a:lnTo>
                        <a:lnTo>
                          <a:pt x="118" y="88"/>
                        </a:lnTo>
                        <a:lnTo>
                          <a:pt x="118" y="87"/>
                        </a:lnTo>
                        <a:lnTo>
                          <a:pt x="118" y="85"/>
                        </a:lnTo>
                        <a:lnTo>
                          <a:pt x="118" y="83"/>
                        </a:lnTo>
                        <a:lnTo>
                          <a:pt x="118" y="82"/>
                        </a:lnTo>
                        <a:lnTo>
                          <a:pt x="118" y="81"/>
                        </a:lnTo>
                        <a:lnTo>
                          <a:pt x="118" y="81"/>
                        </a:lnTo>
                        <a:lnTo>
                          <a:pt x="118" y="81"/>
                        </a:lnTo>
                        <a:lnTo>
                          <a:pt x="118" y="80"/>
                        </a:lnTo>
                        <a:lnTo>
                          <a:pt x="117" y="80"/>
                        </a:lnTo>
                        <a:lnTo>
                          <a:pt x="117" y="80"/>
                        </a:lnTo>
                        <a:lnTo>
                          <a:pt x="117" y="80"/>
                        </a:lnTo>
                        <a:lnTo>
                          <a:pt x="116" y="80"/>
                        </a:lnTo>
                        <a:lnTo>
                          <a:pt x="116" y="77"/>
                        </a:lnTo>
                        <a:lnTo>
                          <a:pt x="116" y="76"/>
                        </a:lnTo>
                        <a:lnTo>
                          <a:pt x="116" y="75"/>
                        </a:lnTo>
                        <a:lnTo>
                          <a:pt x="116" y="74"/>
                        </a:lnTo>
                        <a:lnTo>
                          <a:pt x="116" y="73"/>
                        </a:lnTo>
                        <a:lnTo>
                          <a:pt x="116" y="72"/>
                        </a:lnTo>
                        <a:lnTo>
                          <a:pt x="116" y="71"/>
                        </a:lnTo>
                        <a:lnTo>
                          <a:pt x="116" y="70"/>
                        </a:lnTo>
                        <a:lnTo>
                          <a:pt x="115" y="70"/>
                        </a:lnTo>
                        <a:lnTo>
                          <a:pt x="115" y="69"/>
                        </a:lnTo>
                        <a:lnTo>
                          <a:pt x="114" y="68"/>
                        </a:lnTo>
                        <a:lnTo>
                          <a:pt x="114" y="68"/>
                        </a:lnTo>
                        <a:lnTo>
                          <a:pt x="113" y="67"/>
                        </a:lnTo>
                        <a:lnTo>
                          <a:pt x="112" y="67"/>
                        </a:lnTo>
                        <a:lnTo>
                          <a:pt x="111" y="67"/>
                        </a:lnTo>
                        <a:lnTo>
                          <a:pt x="111" y="66"/>
                        </a:lnTo>
                        <a:lnTo>
                          <a:pt x="111" y="66"/>
                        </a:lnTo>
                        <a:lnTo>
                          <a:pt x="111" y="65"/>
                        </a:lnTo>
                        <a:lnTo>
                          <a:pt x="111" y="65"/>
                        </a:lnTo>
                        <a:lnTo>
                          <a:pt x="111" y="65"/>
                        </a:lnTo>
                        <a:lnTo>
                          <a:pt x="110" y="65"/>
                        </a:lnTo>
                        <a:lnTo>
                          <a:pt x="110" y="65"/>
                        </a:lnTo>
                        <a:lnTo>
                          <a:pt x="110" y="65"/>
                        </a:lnTo>
                        <a:lnTo>
                          <a:pt x="109" y="65"/>
                        </a:lnTo>
                        <a:lnTo>
                          <a:pt x="108" y="65"/>
                        </a:lnTo>
                        <a:lnTo>
                          <a:pt x="107" y="64"/>
                        </a:lnTo>
                        <a:lnTo>
                          <a:pt x="106" y="64"/>
                        </a:lnTo>
                        <a:lnTo>
                          <a:pt x="105" y="64"/>
                        </a:lnTo>
                        <a:lnTo>
                          <a:pt x="104" y="63"/>
                        </a:lnTo>
                        <a:lnTo>
                          <a:pt x="104" y="63"/>
                        </a:lnTo>
                        <a:lnTo>
                          <a:pt x="103" y="63"/>
                        </a:lnTo>
                        <a:lnTo>
                          <a:pt x="103" y="63"/>
                        </a:lnTo>
                        <a:lnTo>
                          <a:pt x="102" y="63"/>
                        </a:lnTo>
                        <a:lnTo>
                          <a:pt x="101" y="64"/>
                        </a:lnTo>
                        <a:lnTo>
                          <a:pt x="101" y="64"/>
                        </a:lnTo>
                        <a:lnTo>
                          <a:pt x="100" y="64"/>
                        </a:lnTo>
                        <a:lnTo>
                          <a:pt x="100" y="65"/>
                        </a:lnTo>
                        <a:lnTo>
                          <a:pt x="99" y="65"/>
                        </a:lnTo>
                        <a:lnTo>
                          <a:pt x="99" y="65"/>
                        </a:lnTo>
                        <a:lnTo>
                          <a:pt x="99" y="65"/>
                        </a:lnTo>
                        <a:lnTo>
                          <a:pt x="98" y="65"/>
                        </a:lnTo>
                        <a:lnTo>
                          <a:pt x="98" y="65"/>
                        </a:lnTo>
                        <a:lnTo>
                          <a:pt x="98" y="66"/>
                        </a:lnTo>
                        <a:lnTo>
                          <a:pt x="98" y="66"/>
                        </a:lnTo>
                        <a:lnTo>
                          <a:pt x="98" y="67"/>
                        </a:lnTo>
                        <a:lnTo>
                          <a:pt x="97" y="67"/>
                        </a:lnTo>
                        <a:lnTo>
                          <a:pt x="96" y="67"/>
                        </a:lnTo>
                        <a:lnTo>
                          <a:pt x="96" y="67"/>
                        </a:lnTo>
                        <a:lnTo>
                          <a:pt x="95" y="67"/>
                        </a:lnTo>
                        <a:lnTo>
                          <a:pt x="95" y="66"/>
                        </a:lnTo>
                        <a:lnTo>
                          <a:pt x="95" y="66"/>
                        </a:lnTo>
                        <a:lnTo>
                          <a:pt x="95" y="65"/>
                        </a:lnTo>
                        <a:lnTo>
                          <a:pt x="94" y="65"/>
                        </a:lnTo>
                        <a:lnTo>
                          <a:pt x="94" y="65"/>
                        </a:lnTo>
                        <a:lnTo>
                          <a:pt x="94" y="65"/>
                        </a:lnTo>
                        <a:lnTo>
                          <a:pt x="93" y="65"/>
                        </a:lnTo>
                        <a:lnTo>
                          <a:pt x="93" y="65"/>
                        </a:lnTo>
                        <a:lnTo>
                          <a:pt x="93" y="65"/>
                        </a:lnTo>
                        <a:lnTo>
                          <a:pt x="92" y="65"/>
                        </a:lnTo>
                        <a:lnTo>
                          <a:pt x="92" y="64"/>
                        </a:lnTo>
                        <a:lnTo>
                          <a:pt x="91" y="64"/>
                        </a:lnTo>
                        <a:lnTo>
                          <a:pt x="91" y="64"/>
                        </a:lnTo>
                        <a:lnTo>
                          <a:pt x="90" y="63"/>
                        </a:lnTo>
                        <a:lnTo>
                          <a:pt x="90" y="63"/>
                        </a:lnTo>
                        <a:lnTo>
                          <a:pt x="90" y="63"/>
                        </a:lnTo>
                        <a:lnTo>
                          <a:pt x="90" y="62"/>
                        </a:lnTo>
                        <a:lnTo>
                          <a:pt x="89" y="62"/>
                        </a:lnTo>
                        <a:lnTo>
                          <a:pt x="89" y="62"/>
                        </a:lnTo>
                        <a:lnTo>
                          <a:pt x="89" y="62"/>
                        </a:lnTo>
                        <a:lnTo>
                          <a:pt x="89" y="62"/>
                        </a:lnTo>
                        <a:lnTo>
                          <a:pt x="88" y="62"/>
                        </a:lnTo>
                        <a:lnTo>
                          <a:pt x="88" y="62"/>
                        </a:lnTo>
                        <a:lnTo>
                          <a:pt x="88" y="61"/>
                        </a:lnTo>
                        <a:lnTo>
                          <a:pt x="88" y="60"/>
                        </a:lnTo>
                        <a:lnTo>
                          <a:pt x="87" y="60"/>
                        </a:lnTo>
                        <a:lnTo>
                          <a:pt x="87" y="59"/>
                        </a:lnTo>
                        <a:lnTo>
                          <a:pt x="86" y="59"/>
                        </a:lnTo>
                        <a:lnTo>
                          <a:pt x="86" y="59"/>
                        </a:lnTo>
                        <a:lnTo>
                          <a:pt x="85" y="59"/>
                        </a:lnTo>
                        <a:lnTo>
                          <a:pt x="85" y="58"/>
                        </a:lnTo>
                        <a:lnTo>
                          <a:pt x="85" y="58"/>
                        </a:lnTo>
                        <a:lnTo>
                          <a:pt x="85" y="58"/>
                        </a:lnTo>
                        <a:lnTo>
                          <a:pt x="85" y="57"/>
                        </a:lnTo>
                        <a:lnTo>
                          <a:pt x="84" y="57"/>
                        </a:lnTo>
                        <a:lnTo>
                          <a:pt x="84" y="57"/>
                        </a:lnTo>
                        <a:lnTo>
                          <a:pt x="84" y="57"/>
                        </a:lnTo>
                        <a:lnTo>
                          <a:pt x="83" y="57"/>
                        </a:lnTo>
                        <a:lnTo>
                          <a:pt x="83" y="57"/>
                        </a:lnTo>
                        <a:lnTo>
                          <a:pt x="83" y="57"/>
                        </a:lnTo>
                        <a:lnTo>
                          <a:pt x="82" y="57"/>
                        </a:lnTo>
                        <a:lnTo>
                          <a:pt x="82" y="57"/>
                        </a:lnTo>
                        <a:lnTo>
                          <a:pt x="81" y="57"/>
                        </a:lnTo>
                        <a:lnTo>
                          <a:pt x="82" y="56"/>
                        </a:lnTo>
                        <a:lnTo>
                          <a:pt x="81" y="56"/>
                        </a:lnTo>
                        <a:lnTo>
                          <a:pt x="81" y="55"/>
                        </a:lnTo>
                        <a:lnTo>
                          <a:pt x="81" y="55"/>
                        </a:lnTo>
                        <a:lnTo>
                          <a:pt x="81" y="55"/>
                        </a:lnTo>
                        <a:lnTo>
                          <a:pt x="80" y="55"/>
                        </a:lnTo>
                        <a:lnTo>
                          <a:pt x="80" y="55"/>
                        </a:lnTo>
                        <a:lnTo>
                          <a:pt x="80" y="55"/>
                        </a:lnTo>
                        <a:lnTo>
                          <a:pt x="78" y="55"/>
                        </a:lnTo>
                        <a:lnTo>
                          <a:pt x="76" y="55"/>
                        </a:lnTo>
                        <a:lnTo>
                          <a:pt x="74" y="55"/>
                        </a:lnTo>
                        <a:lnTo>
                          <a:pt x="71" y="55"/>
                        </a:lnTo>
                        <a:lnTo>
                          <a:pt x="71" y="55"/>
                        </a:lnTo>
                        <a:lnTo>
                          <a:pt x="71" y="55"/>
                        </a:lnTo>
                        <a:lnTo>
                          <a:pt x="70" y="55"/>
                        </a:lnTo>
                        <a:lnTo>
                          <a:pt x="70" y="55"/>
                        </a:lnTo>
                        <a:lnTo>
                          <a:pt x="70" y="55"/>
                        </a:lnTo>
                        <a:lnTo>
                          <a:pt x="70" y="56"/>
                        </a:lnTo>
                        <a:lnTo>
                          <a:pt x="70" y="56"/>
                        </a:lnTo>
                        <a:lnTo>
                          <a:pt x="70" y="57"/>
                        </a:lnTo>
                        <a:lnTo>
                          <a:pt x="69" y="56"/>
                        </a:lnTo>
                        <a:lnTo>
                          <a:pt x="68" y="56"/>
                        </a:lnTo>
                        <a:lnTo>
                          <a:pt x="68" y="56"/>
                        </a:lnTo>
                        <a:lnTo>
                          <a:pt x="67" y="56"/>
                        </a:lnTo>
                        <a:lnTo>
                          <a:pt x="67" y="56"/>
                        </a:lnTo>
                        <a:lnTo>
                          <a:pt x="66" y="57"/>
                        </a:lnTo>
                        <a:lnTo>
                          <a:pt x="65" y="57"/>
                        </a:lnTo>
                        <a:lnTo>
                          <a:pt x="65" y="58"/>
                        </a:lnTo>
                        <a:lnTo>
                          <a:pt x="64" y="58"/>
                        </a:lnTo>
                        <a:lnTo>
                          <a:pt x="64" y="58"/>
                        </a:lnTo>
                        <a:lnTo>
                          <a:pt x="63" y="58"/>
                        </a:lnTo>
                        <a:lnTo>
                          <a:pt x="63" y="58"/>
                        </a:lnTo>
                        <a:lnTo>
                          <a:pt x="62" y="58"/>
                        </a:lnTo>
                        <a:lnTo>
                          <a:pt x="61" y="58"/>
                        </a:lnTo>
                        <a:lnTo>
                          <a:pt x="61" y="58"/>
                        </a:lnTo>
                        <a:lnTo>
                          <a:pt x="61" y="58"/>
                        </a:lnTo>
                        <a:lnTo>
                          <a:pt x="60" y="58"/>
                        </a:lnTo>
                        <a:lnTo>
                          <a:pt x="60" y="59"/>
                        </a:lnTo>
                        <a:lnTo>
                          <a:pt x="60" y="59"/>
                        </a:lnTo>
                        <a:lnTo>
                          <a:pt x="60" y="59"/>
                        </a:lnTo>
                        <a:lnTo>
                          <a:pt x="60" y="60"/>
                        </a:lnTo>
                        <a:lnTo>
                          <a:pt x="60" y="60"/>
                        </a:lnTo>
                        <a:lnTo>
                          <a:pt x="59" y="60"/>
                        </a:lnTo>
                        <a:lnTo>
                          <a:pt x="58" y="60"/>
                        </a:lnTo>
                        <a:lnTo>
                          <a:pt x="57" y="60"/>
                        </a:lnTo>
                        <a:lnTo>
                          <a:pt x="56" y="60"/>
                        </a:lnTo>
                        <a:lnTo>
                          <a:pt x="56" y="60"/>
                        </a:lnTo>
                        <a:lnTo>
                          <a:pt x="56" y="60"/>
                        </a:lnTo>
                        <a:lnTo>
                          <a:pt x="55" y="60"/>
                        </a:lnTo>
                        <a:lnTo>
                          <a:pt x="55" y="60"/>
                        </a:lnTo>
                        <a:lnTo>
                          <a:pt x="55" y="60"/>
                        </a:lnTo>
                        <a:lnTo>
                          <a:pt x="55" y="61"/>
                        </a:lnTo>
                        <a:lnTo>
                          <a:pt x="55" y="61"/>
                        </a:lnTo>
                        <a:lnTo>
                          <a:pt x="55" y="62"/>
                        </a:lnTo>
                        <a:lnTo>
                          <a:pt x="54" y="62"/>
                        </a:lnTo>
                        <a:lnTo>
                          <a:pt x="53" y="62"/>
                        </a:lnTo>
                        <a:lnTo>
                          <a:pt x="52" y="62"/>
                        </a:lnTo>
                        <a:lnTo>
                          <a:pt x="51" y="62"/>
                        </a:lnTo>
                        <a:lnTo>
                          <a:pt x="51" y="61"/>
                        </a:lnTo>
                        <a:lnTo>
                          <a:pt x="51" y="61"/>
                        </a:lnTo>
                        <a:lnTo>
                          <a:pt x="50" y="62"/>
                        </a:lnTo>
                        <a:lnTo>
                          <a:pt x="50" y="62"/>
                        </a:lnTo>
                        <a:lnTo>
                          <a:pt x="50" y="62"/>
                        </a:lnTo>
                        <a:lnTo>
                          <a:pt x="50" y="62"/>
                        </a:lnTo>
                        <a:lnTo>
                          <a:pt x="50" y="63"/>
                        </a:lnTo>
                        <a:lnTo>
                          <a:pt x="50" y="63"/>
                        </a:lnTo>
                        <a:lnTo>
                          <a:pt x="49" y="64"/>
                        </a:lnTo>
                        <a:lnTo>
                          <a:pt x="48" y="64"/>
                        </a:lnTo>
                        <a:lnTo>
                          <a:pt x="46" y="64"/>
                        </a:lnTo>
                        <a:lnTo>
                          <a:pt x="45" y="65"/>
                        </a:lnTo>
                        <a:lnTo>
                          <a:pt x="43" y="65"/>
                        </a:lnTo>
                        <a:lnTo>
                          <a:pt x="42" y="65"/>
                        </a:lnTo>
                        <a:lnTo>
                          <a:pt x="39" y="65"/>
                        </a:lnTo>
                        <a:lnTo>
                          <a:pt x="36" y="65"/>
                        </a:lnTo>
                        <a:lnTo>
                          <a:pt x="35" y="65"/>
                        </a:lnTo>
                        <a:lnTo>
                          <a:pt x="33" y="65"/>
                        </a:lnTo>
                        <a:lnTo>
                          <a:pt x="32" y="65"/>
                        </a:lnTo>
                        <a:lnTo>
                          <a:pt x="30" y="66"/>
                        </a:lnTo>
                        <a:lnTo>
                          <a:pt x="29" y="66"/>
                        </a:lnTo>
                        <a:lnTo>
                          <a:pt x="28" y="67"/>
                        </a:lnTo>
                        <a:lnTo>
                          <a:pt x="28" y="66"/>
                        </a:lnTo>
                        <a:lnTo>
                          <a:pt x="28" y="65"/>
                        </a:lnTo>
                        <a:lnTo>
                          <a:pt x="27" y="65"/>
                        </a:lnTo>
                        <a:lnTo>
                          <a:pt x="27" y="64"/>
                        </a:lnTo>
                        <a:lnTo>
                          <a:pt x="26" y="64"/>
                        </a:lnTo>
                        <a:lnTo>
                          <a:pt x="26" y="64"/>
                        </a:lnTo>
                        <a:lnTo>
                          <a:pt x="25" y="64"/>
                        </a:lnTo>
                        <a:lnTo>
                          <a:pt x="25" y="63"/>
                        </a:lnTo>
                        <a:lnTo>
                          <a:pt x="24" y="63"/>
                        </a:lnTo>
                        <a:lnTo>
                          <a:pt x="23" y="62"/>
                        </a:lnTo>
                        <a:lnTo>
                          <a:pt x="22" y="62"/>
                        </a:lnTo>
                        <a:lnTo>
                          <a:pt x="21" y="61"/>
                        </a:lnTo>
                        <a:lnTo>
                          <a:pt x="21" y="61"/>
                        </a:lnTo>
                        <a:lnTo>
                          <a:pt x="20" y="60"/>
                        </a:lnTo>
                        <a:lnTo>
                          <a:pt x="20" y="60"/>
                        </a:lnTo>
                        <a:lnTo>
                          <a:pt x="20" y="59"/>
                        </a:lnTo>
                        <a:lnTo>
                          <a:pt x="20" y="59"/>
                        </a:lnTo>
                        <a:lnTo>
                          <a:pt x="20" y="58"/>
                        </a:lnTo>
                        <a:lnTo>
                          <a:pt x="20" y="57"/>
                        </a:lnTo>
                        <a:lnTo>
                          <a:pt x="20" y="57"/>
                        </a:lnTo>
                        <a:lnTo>
                          <a:pt x="21" y="57"/>
                        </a:lnTo>
                        <a:lnTo>
                          <a:pt x="21" y="57"/>
                        </a:lnTo>
                        <a:lnTo>
                          <a:pt x="22" y="57"/>
                        </a:lnTo>
                        <a:lnTo>
                          <a:pt x="23" y="58"/>
                        </a:lnTo>
                        <a:lnTo>
                          <a:pt x="24" y="58"/>
                        </a:lnTo>
                        <a:lnTo>
                          <a:pt x="24" y="58"/>
                        </a:lnTo>
                        <a:lnTo>
                          <a:pt x="25" y="59"/>
                        </a:lnTo>
                        <a:lnTo>
                          <a:pt x="26" y="59"/>
                        </a:lnTo>
                        <a:lnTo>
                          <a:pt x="26" y="60"/>
                        </a:lnTo>
                        <a:lnTo>
                          <a:pt x="27" y="60"/>
                        </a:lnTo>
                        <a:lnTo>
                          <a:pt x="28" y="60"/>
                        </a:lnTo>
                        <a:lnTo>
                          <a:pt x="28" y="60"/>
                        </a:lnTo>
                        <a:lnTo>
                          <a:pt x="29" y="60"/>
                        </a:lnTo>
                        <a:lnTo>
                          <a:pt x="29" y="60"/>
                        </a:lnTo>
                        <a:lnTo>
                          <a:pt x="29" y="60"/>
                        </a:lnTo>
                        <a:lnTo>
                          <a:pt x="30" y="60"/>
                        </a:lnTo>
                        <a:lnTo>
                          <a:pt x="30" y="59"/>
                        </a:lnTo>
                        <a:lnTo>
                          <a:pt x="31" y="59"/>
                        </a:lnTo>
                        <a:lnTo>
                          <a:pt x="31" y="59"/>
                        </a:lnTo>
                        <a:lnTo>
                          <a:pt x="31" y="58"/>
                        </a:lnTo>
                        <a:lnTo>
                          <a:pt x="31" y="57"/>
                        </a:lnTo>
                        <a:lnTo>
                          <a:pt x="31" y="56"/>
                        </a:lnTo>
                        <a:lnTo>
                          <a:pt x="31" y="55"/>
                        </a:lnTo>
                        <a:lnTo>
                          <a:pt x="31" y="54"/>
                        </a:lnTo>
                        <a:lnTo>
                          <a:pt x="31" y="53"/>
                        </a:lnTo>
                        <a:lnTo>
                          <a:pt x="30" y="52"/>
                        </a:lnTo>
                        <a:lnTo>
                          <a:pt x="29" y="51"/>
                        </a:lnTo>
                        <a:lnTo>
                          <a:pt x="29" y="50"/>
                        </a:lnTo>
                        <a:lnTo>
                          <a:pt x="29" y="49"/>
                        </a:lnTo>
                        <a:lnTo>
                          <a:pt x="28" y="49"/>
                        </a:lnTo>
                        <a:lnTo>
                          <a:pt x="28" y="48"/>
                        </a:lnTo>
                        <a:lnTo>
                          <a:pt x="28" y="47"/>
                        </a:lnTo>
                        <a:lnTo>
                          <a:pt x="28" y="46"/>
                        </a:lnTo>
                        <a:lnTo>
                          <a:pt x="28" y="44"/>
                        </a:lnTo>
                        <a:lnTo>
                          <a:pt x="28" y="44"/>
                        </a:lnTo>
                        <a:lnTo>
                          <a:pt x="28" y="43"/>
                        </a:lnTo>
                        <a:lnTo>
                          <a:pt x="28" y="43"/>
                        </a:lnTo>
                        <a:lnTo>
                          <a:pt x="28" y="42"/>
                        </a:lnTo>
                        <a:lnTo>
                          <a:pt x="28" y="42"/>
                        </a:lnTo>
                        <a:lnTo>
                          <a:pt x="28" y="42"/>
                        </a:lnTo>
                        <a:lnTo>
                          <a:pt x="27" y="42"/>
                        </a:lnTo>
                        <a:lnTo>
                          <a:pt x="27" y="42"/>
                        </a:lnTo>
                        <a:lnTo>
                          <a:pt x="27" y="42"/>
                        </a:lnTo>
                        <a:lnTo>
                          <a:pt x="26" y="42"/>
                        </a:lnTo>
                        <a:lnTo>
                          <a:pt x="26" y="40"/>
                        </a:lnTo>
                        <a:lnTo>
                          <a:pt x="26" y="38"/>
                        </a:lnTo>
                        <a:lnTo>
                          <a:pt x="26" y="37"/>
                        </a:lnTo>
                        <a:lnTo>
                          <a:pt x="26" y="35"/>
                        </a:lnTo>
                        <a:lnTo>
                          <a:pt x="26" y="34"/>
                        </a:lnTo>
                        <a:lnTo>
                          <a:pt x="26" y="34"/>
                        </a:lnTo>
                        <a:lnTo>
                          <a:pt x="26" y="33"/>
                        </a:lnTo>
                        <a:lnTo>
                          <a:pt x="25" y="33"/>
                        </a:lnTo>
                        <a:lnTo>
                          <a:pt x="25" y="32"/>
                        </a:lnTo>
                        <a:lnTo>
                          <a:pt x="24" y="32"/>
                        </a:lnTo>
                        <a:lnTo>
                          <a:pt x="24" y="32"/>
                        </a:lnTo>
                        <a:lnTo>
                          <a:pt x="23" y="32"/>
                        </a:lnTo>
                        <a:lnTo>
                          <a:pt x="23" y="30"/>
                        </a:lnTo>
                        <a:lnTo>
                          <a:pt x="23" y="29"/>
                        </a:lnTo>
                        <a:lnTo>
                          <a:pt x="23" y="28"/>
                        </a:lnTo>
                        <a:lnTo>
                          <a:pt x="23" y="27"/>
                        </a:lnTo>
                        <a:lnTo>
                          <a:pt x="23" y="26"/>
                        </a:lnTo>
                        <a:lnTo>
                          <a:pt x="22" y="25"/>
                        </a:lnTo>
                        <a:lnTo>
                          <a:pt x="22" y="24"/>
                        </a:lnTo>
                        <a:lnTo>
                          <a:pt x="21" y="23"/>
                        </a:lnTo>
                        <a:lnTo>
                          <a:pt x="21" y="23"/>
                        </a:lnTo>
                        <a:lnTo>
                          <a:pt x="20" y="22"/>
                        </a:lnTo>
                        <a:lnTo>
                          <a:pt x="19" y="22"/>
                        </a:lnTo>
                        <a:lnTo>
                          <a:pt x="18" y="21"/>
                        </a:lnTo>
                        <a:lnTo>
                          <a:pt x="18" y="21"/>
                        </a:lnTo>
                        <a:lnTo>
                          <a:pt x="17" y="20"/>
                        </a:lnTo>
                        <a:lnTo>
                          <a:pt x="16" y="20"/>
                        </a:lnTo>
                        <a:lnTo>
                          <a:pt x="15" y="20"/>
                        </a:lnTo>
                        <a:lnTo>
                          <a:pt x="15" y="20"/>
                        </a:lnTo>
                        <a:lnTo>
                          <a:pt x="15" y="19"/>
                        </a:lnTo>
                        <a:lnTo>
                          <a:pt x="14" y="19"/>
                        </a:lnTo>
                        <a:lnTo>
                          <a:pt x="14" y="19"/>
                        </a:lnTo>
                        <a:lnTo>
                          <a:pt x="14" y="19"/>
                        </a:lnTo>
                        <a:lnTo>
                          <a:pt x="13" y="19"/>
                        </a:lnTo>
                        <a:lnTo>
                          <a:pt x="13" y="18"/>
                        </a:lnTo>
                        <a:lnTo>
                          <a:pt x="12" y="18"/>
                        </a:lnTo>
                        <a:lnTo>
                          <a:pt x="11" y="18"/>
                        </a:lnTo>
                        <a:lnTo>
                          <a:pt x="11" y="18"/>
                        </a:lnTo>
                        <a:lnTo>
                          <a:pt x="11" y="17"/>
                        </a:lnTo>
                        <a:lnTo>
                          <a:pt x="10" y="17"/>
                        </a:lnTo>
                        <a:lnTo>
                          <a:pt x="10" y="16"/>
                        </a:lnTo>
                        <a:lnTo>
                          <a:pt x="10" y="16"/>
                        </a:lnTo>
                        <a:lnTo>
                          <a:pt x="9" y="16"/>
                        </a:lnTo>
                        <a:lnTo>
                          <a:pt x="9" y="16"/>
                        </a:lnTo>
                        <a:lnTo>
                          <a:pt x="9" y="16"/>
                        </a:lnTo>
                        <a:lnTo>
                          <a:pt x="8" y="16"/>
                        </a:lnTo>
                        <a:lnTo>
                          <a:pt x="8" y="16"/>
                        </a:lnTo>
                        <a:lnTo>
                          <a:pt x="7" y="16"/>
                        </a:lnTo>
                        <a:lnTo>
                          <a:pt x="7" y="16"/>
                        </a:lnTo>
                        <a:lnTo>
                          <a:pt x="6" y="16"/>
                        </a:lnTo>
                        <a:lnTo>
                          <a:pt x="5" y="16"/>
                        </a:lnTo>
                        <a:lnTo>
                          <a:pt x="5" y="16"/>
                        </a:lnTo>
                        <a:lnTo>
                          <a:pt x="4" y="17"/>
                        </a:lnTo>
                        <a:lnTo>
                          <a:pt x="3" y="17"/>
                        </a:lnTo>
                        <a:lnTo>
                          <a:pt x="3" y="17"/>
                        </a:lnTo>
                        <a:lnTo>
                          <a:pt x="2" y="17"/>
                        </a:lnTo>
                        <a:lnTo>
                          <a:pt x="2" y="17"/>
                        </a:lnTo>
                        <a:lnTo>
                          <a:pt x="2" y="17"/>
                        </a:lnTo>
                        <a:lnTo>
                          <a:pt x="2" y="17"/>
                        </a:lnTo>
                        <a:lnTo>
                          <a:pt x="2" y="17"/>
                        </a:lnTo>
                        <a:lnTo>
                          <a:pt x="2" y="16"/>
                        </a:lnTo>
                        <a:lnTo>
                          <a:pt x="2" y="15"/>
                        </a:lnTo>
                        <a:lnTo>
                          <a:pt x="2" y="14"/>
                        </a:lnTo>
                        <a:lnTo>
                          <a:pt x="1" y="13"/>
                        </a:lnTo>
                        <a:lnTo>
                          <a:pt x="1" y="13"/>
                        </a:lnTo>
                        <a:lnTo>
                          <a:pt x="1" y="12"/>
                        </a:lnTo>
                        <a:lnTo>
                          <a:pt x="1" y="12"/>
                        </a:lnTo>
                        <a:lnTo>
                          <a:pt x="0" y="12"/>
                        </a:lnTo>
                        <a:lnTo>
                          <a:pt x="0" y="12"/>
                        </a:lnTo>
                        <a:lnTo>
                          <a:pt x="0" y="12"/>
                        </a:lnTo>
                        <a:lnTo>
                          <a:pt x="0" y="11"/>
                        </a:lnTo>
                        <a:lnTo>
                          <a:pt x="0" y="11"/>
                        </a:lnTo>
                        <a:lnTo>
                          <a:pt x="0" y="10"/>
                        </a:lnTo>
                        <a:lnTo>
                          <a:pt x="0" y="10"/>
                        </a:lnTo>
                        <a:lnTo>
                          <a:pt x="0" y="9"/>
                        </a:lnTo>
                        <a:lnTo>
                          <a:pt x="0" y="8"/>
                        </a:lnTo>
                        <a:lnTo>
                          <a:pt x="0" y="8"/>
                        </a:lnTo>
                        <a:lnTo>
                          <a:pt x="0" y="7"/>
                        </a:lnTo>
                        <a:lnTo>
                          <a:pt x="1" y="6"/>
                        </a:lnTo>
                        <a:lnTo>
                          <a:pt x="1" y="6"/>
                        </a:lnTo>
                        <a:lnTo>
                          <a:pt x="2" y="5"/>
                        </a:lnTo>
                        <a:lnTo>
                          <a:pt x="2" y="5"/>
                        </a:lnTo>
                        <a:lnTo>
                          <a:pt x="2" y="5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lnTo>
                          <a:pt x="13" y="5"/>
                        </a:lnTo>
                        <a:lnTo>
                          <a:pt x="13" y="6"/>
                        </a:lnTo>
                        <a:lnTo>
                          <a:pt x="13" y="6"/>
                        </a:lnTo>
                        <a:lnTo>
                          <a:pt x="14" y="6"/>
                        </a:lnTo>
                        <a:lnTo>
                          <a:pt x="14" y="7"/>
                        </a:lnTo>
                        <a:lnTo>
                          <a:pt x="14" y="7"/>
                        </a:lnTo>
                        <a:lnTo>
                          <a:pt x="15" y="7"/>
                        </a:lnTo>
                        <a:lnTo>
                          <a:pt x="16" y="7"/>
                        </a:lnTo>
                        <a:lnTo>
                          <a:pt x="16" y="7"/>
                        </a:lnTo>
                        <a:lnTo>
                          <a:pt x="18" y="7"/>
                        </a:lnTo>
                        <a:lnTo>
                          <a:pt x="19" y="7"/>
                        </a:lnTo>
                        <a:lnTo>
                          <a:pt x="20" y="6"/>
                        </a:lnTo>
                        <a:lnTo>
                          <a:pt x="20" y="6"/>
                        </a:lnTo>
                        <a:lnTo>
                          <a:pt x="21" y="6"/>
                        </a:lnTo>
                        <a:lnTo>
                          <a:pt x="21" y="7"/>
                        </a:lnTo>
                        <a:lnTo>
                          <a:pt x="23" y="6"/>
                        </a:lnTo>
                        <a:lnTo>
                          <a:pt x="25" y="6"/>
                        </a:lnTo>
                        <a:lnTo>
                          <a:pt x="26" y="6"/>
                        </a:lnTo>
                        <a:lnTo>
                          <a:pt x="27" y="6"/>
                        </a:lnTo>
                        <a:lnTo>
                          <a:pt x="29" y="7"/>
                        </a:lnTo>
                        <a:lnTo>
                          <a:pt x="30" y="7"/>
                        </a:lnTo>
                        <a:lnTo>
                          <a:pt x="31" y="7"/>
                        </a:lnTo>
                        <a:lnTo>
                          <a:pt x="32" y="7"/>
                        </a:lnTo>
                        <a:lnTo>
                          <a:pt x="34" y="8"/>
                        </a:lnTo>
                        <a:lnTo>
                          <a:pt x="36" y="9"/>
                        </a:lnTo>
                        <a:lnTo>
                          <a:pt x="38" y="10"/>
                        </a:lnTo>
                        <a:lnTo>
                          <a:pt x="40" y="11"/>
                        </a:lnTo>
                        <a:lnTo>
                          <a:pt x="42" y="11"/>
                        </a:lnTo>
                        <a:lnTo>
                          <a:pt x="44" y="12"/>
                        </a:lnTo>
                        <a:lnTo>
                          <a:pt x="46" y="13"/>
                        </a:lnTo>
                        <a:lnTo>
                          <a:pt x="48" y="14"/>
                        </a:lnTo>
                        <a:lnTo>
                          <a:pt x="49" y="14"/>
                        </a:lnTo>
                        <a:lnTo>
                          <a:pt x="50" y="14"/>
                        </a:lnTo>
                        <a:lnTo>
                          <a:pt x="51" y="15"/>
                        </a:lnTo>
                        <a:lnTo>
                          <a:pt x="53" y="15"/>
                        </a:lnTo>
                        <a:lnTo>
                          <a:pt x="54" y="15"/>
                        </a:lnTo>
                        <a:lnTo>
                          <a:pt x="55" y="15"/>
                        </a:lnTo>
                        <a:lnTo>
                          <a:pt x="56" y="15"/>
                        </a:lnTo>
                        <a:lnTo>
                          <a:pt x="58" y="15"/>
                        </a:lnTo>
                        <a:lnTo>
                          <a:pt x="59" y="15"/>
                        </a:lnTo>
                        <a:lnTo>
                          <a:pt x="60" y="14"/>
                        </a:lnTo>
                        <a:lnTo>
                          <a:pt x="61" y="14"/>
                        </a:lnTo>
                        <a:lnTo>
                          <a:pt x="61" y="14"/>
                        </a:lnTo>
                        <a:lnTo>
                          <a:pt x="62" y="13"/>
                        </a:lnTo>
                        <a:lnTo>
                          <a:pt x="63" y="13"/>
                        </a:lnTo>
                        <a:lnTo>
                          <a:pt x="64" y="12"/>
                        </a:lnTo>
                        <a:lnTo>
                          <a:pt x="65" y="10"/>
                        </a:lnTo>
                        <a:lnTo>
                          <a:pt x="65" y="10"/>
                        </a:lnTo>
                        <a:lnTo>
                          <a:pt x="66" y="9"/>
                        </a:lnTo>
                        <a:lnTo>
                          <a:pt x="67" y="9"/>
                        </a:lnTo>
                        <a:lnTo>
                          <a:pt x="68" y="9"/>
                        </a:lnTo>
                        <a:lnTo>
                          <a:pt x="69" y="8"/>
                        </a:lnTo>
                        <a:lnTo>
                          <a:pt x="70" y="8"/>
                        </a:lnTo>
                        <a:lnTo>
                          <a:pt x="73" y="8"/>
                        </a:lnTo>
                        <a:lnTo>
                          <a:pt x="76" y="8"/>
                        </a:lnTo>
                        <a:lnTo>
                          <a:pt x="78" y="8"/>
                        </a:lnTo>
                        <a:lnTo>
                          <a:pt x="81" y="8"/>
                        </a:lnTo>
                        <a:lnTo>
                          <a:pt x="82" y="7"/>
                        </a:lnTo>
                        <a:lnTo>
                          <a:pt x="83" y="7"/>
                        </a:lnTo>
                        <a:lnTo>
                          <a:pt x="84" y="6"/>
                        </a:lnTo>
                        <a:lnTo>
                          <a:pt x="84" y="6"/>
                        </a:lnTo>
                        <a:lnTo>
                          <a:pt x="85" y="5"/>
                        </a:lnTo>
                        <a:lnTo>
                          <a:pt x="86" y="5"/>
                        </a:lnTo>
                        <a:lnTo>
                          <a:pt x="87" y="4"/>
                        </a:lnTo>
                        <a:lnTo>
                          <a:pt x="88" y="4"/>
                        </a:lnTo>
                        <a:lnTo>
                          <a:pt x="90" y="3"/>
                        </a:lnTo>
                        <a:lnTo>
                          <a:pt x="91" y="3"/>
                        </a:lnTo>
                        <a:lnTo>
                          <a:pt x="92" y="3"/>
                        </a:lnTo>
                        <a:lnTo>
                          <a:pt x="94" y="3"/>
                        </a:lnTo>
                        <a:lnTo>
                          <a:pt x="95" y="3"/>
                        </a:lnTo>
                        <a:lnTo>
                          <a:pt x="97" y="3"/>
                        </a:lnTo>
                        <a:lnTo>
                          <a:pt x="98" y="3"/>
                        </a:lnTo>
                        <a:lnTo>
                          <a:pt x="100" y="3"/>
                        </a:lnTo>
                        <a:lnTo>
                          <a:pt x="100" y="4"/>
                        </a:lnTo>
                        <a:lnTo>
                          <a:pt x="100" y="4"/>
                        </a:lnTo>
                        <a:lnTo>
                          <a:pt x="100" y="4"/>
                        </a:lnTo>
                        <a:lnTo>
                          <a:pt x="100" y="5"/>
                        </a:lnTo>
                        <a:lnTo>
                          <a:pt x="100" y="5"/>
                        </a:lnTo>
                        <a:lnTo>
                          <a:pt x="101" y="5"/>
                        </a:lnTo>
                        <a:lnTo>
                          <a:pt x="101" y="5"/>
                        </a:lnTo>
                        <a:lnTo>
                          <a:pt x="101" y="5"/>
                        </a:lnTo>
                        <a:lnTo>
                          <a:pt x="102" y="5"/>
                        </a:lnTo>
                        <a:lnTo>
                          <a:pt x="103" y="6"/>
                        </a:lnTo>
                        <a:lnTo>
                          <a:pt x="104" y="6"/>
                        </a:lnTo>
                        <a:lnTo>
                          <a:pt x="105" y="7"/>
                        </a:lnTo>
                        <a:lnTo>
                          <a:pt x="106" y="8"/>
                        </a:lnTo>
                        <a:lnTo>
                          <a:pt x="107" y="10"/>
                        </a:lnTo>
                        <a:lnTo>
                          <a:pt x="108" y="11"/>
                        </a:lnTo>
                        <a:lnTo>
                          <a:pt x="110" y="13"/>
                        </a:lnTo>
                        <a:lnTo>
                          <a:pt x="110" y="13"/>
                        </a:lnTo>
                        <a:lnTo>
                          <a:pt x="111" y="14"/>
                        </a:lnTo>
                        <a:lnTo>
                          <a:pt x="112" y="14"/>
                        </a:lnTo>
                        <a:lnTo>
                          <a:pt x="113" y="15"/>
                        </a:lnTo>
                        <a:lnTo>
                          <a:pt x="113" y="15"/>
                        </a:lnTo>
                        <a:lnTo>
                          <a:pt x="113" y="15"/>
                        </a:lnTo>
                        <a:lnTo>
                          <a:pt x="113" y="16"/>
                        </a:lnTo>
                        <a:lnTo>
                          <a:pt x="113" y="16"/>
                        </a:lnTo>
                        <a:lnTo>
                          <a:pt x="114" y="16"/>
                        </a:lnTo>
                        <a:lnTo>
                          <a:pt x="114" y="16"/>
                        </a:lnTo>
                        <a:lnTo>
                          <a:pt x="114" y="16"/>
                        </a:lnTo>
                        <a:lnTo>
                          <a:pt x="114" y="16"/>
                        </a:lnTo>
                        <a:lnTo>
                          <a:pt x="115" y="16"/>
                        </a:lnTo>
                        <a:lnTo>
                          <a:pt x="115" y="15"/>
                        </a:lnTo>
                        <a:lnTo>
                          <a:pt x="115" y="15"/>
                        </a:lnTo>
                        <a:lnTo>
                          <a:pt x="116" y="13"/>
                        </a:lnTo>
                        <a:lnTo>
                          <a:pt x="118" y="11"/>
                        </a:lnTo>
                        <a:lnTo>
                          <a:pt x="120" y="9"/>
                        </a:lnTo>
                        <a:lnTo>
                          <a:pt x="121" y="7"/>
                        </a:lnTo>
                        <a:lnTo>
                          <a:pt x="122" y="7"/>
                        </a:lnTo>
                        <a:lnTo>
                          <a:pt x="122" y="7"/>
                        </a:lnTo>
                        <a:lnTo>
                          <a:pt x="122" y="6"/>
                        </a:lnTo>
                        <a:lnTo>
                          <a:pt x="123" y="6"/>
                        </a:lnTo>
                        <a:lnTo>
                          <a:pt x="123" y="6"/>
                        </a:lnTo>
                        <a:lnTo>
                          <a:pt x="123" y="6"/>
                        </a:lnTo>
                        <a:lnTo>
                          <a:pt x="123" y="5"/>
                        </a:lnTo>
                        <a:lnTo>
                          <a:pt x="123" y="5"/>
                        </a:lnTo>
                        <a:lnTo>
                          <a:pt x="123" y="4"/>
                        </a:lnTo>
                        <a:lnTo>
                          <a:pt x="123" y="3"/>
                        </a:lnTo>
                        <a:lnTo>
                          <a:pt x="124" y="2"/>
                        </a:lnTo>
                        <a:lnTo>
                          <a:pt x="124" y="2"/>
                        </a:lnTo>
                        <a:lnTo>
                          <a:pt x="124" y="1"/>
                        </a:lnTo>
                        <a:lnTo>
                          <a:pt x="125" y="1"/>
                        </a:lnTo>
                        <a:lnTo>
                          <a:pt x="126" y="0"/>
                        </a:lnTo>
                        <a:lnTo>
                          <a:pt x="126" y="0"/>
                        </a:lnTo>
                        <a:lnTo>
                          <a:pt x="128" y="0"/>
                        </a:lnTo>
                        <a:lnTo>
                          <a:pt x="129" y="1"/>
                        </a:lnTo>
                        <a:lnTo>
                          <a:pt x="130" y="1"/>
                        </a:lnTo>
                        <a:lnTo>
                          <a:pt x="131" y="1"/>
                        </a:lnTo>
                        <a:lnTo>
                          <a:pt x="133" y="2"/>
                        </a:lnTo>
                        <a:lnTo>
                          <a:pt x="134" y="2"/>
                        </a:lnTo>
                        <a:lnTo>
                          <a:pt x="134" y="2"/>
                        </a:lnTo>
                        <a:lnTo>
                          <a:pt x="135" y="2"/>
                        </a:lnTo>
                        <a:lnTo>
                          <a:pt x="136" y="2"/>
                        </a:lnTo>
                        <a:lnTo>
                          <a:pt x="137" y="2"/>
                        </a:lnTo>
                        <a:lnTo>
                          <a:pt x="138" y="2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accent1"/>
                    </a:solidFill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algn="ctr" defTabSz="914308">
                      <a:defRPr/>
                    </a:pPr>
                    <a:endParaRPr lang="en-US" sz="900" kern="0" dirty="0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latin typeface="Times New Roman" pitchFamily="18" charset="0"/>
                      <a:cs typeface="Times New Roman" pitchFamily="18" charset="0"/>
                    </a:endParaRPr>
                  </a:p>
                </p:txBody>
              </p:sp>
              <p:sp>
                <p:nvSpPr>
                  <p:cNvPr id="313" name="Freeform 10"/>
                  <p:cNvSpPr>
                    <a:spLocks/>
                  </p:cNvSpPr>
                  <p:nvPr/>
                </p:nvSpPr>
                <p:spPr bwMode="auto">
                  <a:xfrm>
                    <a:off x="4215092" y="3641866"/>
                    <a:ext cx="1436241" cy="1165819"/>
                  </a:xfrm>
                  <a:custGeom>
                    <a:avLst/>
                    <a:gdLst/>
                    <a:ahLst/>
                    <a:cxnLst>
                      <a:cxn ang="0">
                        <a:pos x="142" y="6"/>
                      </a:cxn>
                      <a:cxn ang="0">
                        <a:pos x="161" y="6"/>
                      </a:cxn>
                      <a:cxn ang="0">
                        <a:pos x="176" y="26"/>
                      </a:cxn>
                      <a:cxn ang="0">
                        <a:pos x="181" y="32"/>
                      </a:cxn>
                      <a:cxn ang="0">
                        <a:pos x="186" y="35"/>
                      </a:cxn>
                      <a:cxn ang="0">
                        <a:pos x="185" y="43"/>
                      </a:cxn>
                      <a:cxn ang="0">
                        <a:pos x="191" y="44"/>
                      </a:cxn>
                      <a:cxn ang="0">
                        <a:pos x="191" y="49"/>
                      </a:cxn>
                      <a:cxn ang="0">
                        <a:pos x="189" y="49"/>
                      </a:cxn>
                      <a:cxn ang="0">
                        <a:pos x="186" y="48"/>
                      </a:cxn>
                      <a:cxn ang="0">
                        <a:pos x="183" y="50"/>
                      </a:cxn>
                      <a:cxn ang="0">
                        <a:pos x="178" y="50"/>
                      </a:cxn>
                      <a:cxn ang="0">
                        <a:pos x="173" y="47"/>
                      </a:cxn>
                      <a:cxn ang="0">
                        <a:pos x="168" y="49"/>
                      </a:cxn>
                      <a:cxn ang="0">
                        <a:pos x="163" y="51"/>
                      </a:cxn>
                      <a:cxn ang="0">
                        <a:pos x="158" y="53"/>
                      </a:cxn>
                      <a:cxn ang="0">
                        <a:pos x="155" y="55"/>
                      </a:cxn>
                      <a:cxn ang="0">
                        <a:pos x="151" y="56"/>
                      </a:cxn>
                      <a:cxn ang="0">
                        <a:pos x="148" y="58"/>
                      </a:cxn>
                      <a:cxn ang="0">
                        <a:pos x="139" y="64"/>
                      </a:cxn>
                      <a:cxn ang="0">
                        <a:pos x="137" y="68"/>
                      </a:cxn>
                      <a:cxn ang="0">
                        <a:pos x="140" y="74"/>
                      </a:cxn>
                      <a:cxn ang="0">
                        <a:pos x="148" y="75"/>
                      </a:cxn>
                      <a:cxn ang="0">
                        <a:pos x="146" y="79"/>
                      </a:cxn>
                      <a:cxn ang="0">
                        <a:pos x="148" y="87"/>
                      </a:cxn>
                      <a:cxn ang="0">
                        <a:pos x="155" y="102"/>
                      </a:cxn>
                      <a:cxn ang="0">
                        <a:pos x="158" y="106"/>
                      </a:cxn>
                      <a:cxn ang="0">
                        <a:pos x="161" y="110"/>
                      </a:cxn>
                      <a:cxn ang="0">
                        <a:pos x="162" y="118"/>
                      </a:cxn>
                      <a:cxn ang="0">
                        <a:pos x="164" y="120"/>
                      </a:cxn>
                      <a:cxn ang="0">
                        <a:pos x="157" y="123"/>
                      </a:cxn>
                      <a:cxn ang="0">
                        <a:pos x="158" y="129"/>
                      </a:cxn>
                      <a:cxn ang="0">
                        <a:pos x="154" y="130"/>
                      </a:cxn>
                      <a:cxn ang="0">
                        <a:pos x="153" y="137"/>
                      </a:cxn>
                      <a:cxn ang="0">
                        <a:pos x="156" y="145"/>
                      </a:cxn>
                      <a:cxn ang="0">
                        <a:pos x="151" y="144"/>
                      </a:cxn>
                      <a:cxn ang="0">
                        <a:pos x="144" y="142"/>
                      </a:cxn>
                      <a:cxn ang="0">
                        <a:pos x="133" y="139"/>
                      </a:cxn>
                      <a:cxn ang="0">
                        <a:pos x="118" y="137"/>
                      </a:cxn>
                      <a:cxn ang="0">
                        <a:pos x="105" y="137"/>
                      </a:cxn>
                      <a:cxn ang="0">
                        <a:pos x="92" y="137"/>
                      </a:cxn>
                      <a:cxn ang="0">
                        <a:pos x="83" y="137"/>
                      </a:cxn>
                      <a:cxn ang="0">
                        <a:pos x="75" y="138"/>
                      </a:cxn>
                      <a:cxn ang="0">
                        <a:pos x="72" y="139"/>
                      </a:cxn>
                      <a:cxn ang="0">
                        <a:pos x="66" y="140"/>
                      </a:cxn>
                      <a:cxn ang="0">
                        <a:pos x="54" y="142"/>
                      </a:cxn>
                      <a:cxn ang="0">
                        <a:pos x="50" y="144"/>
                      </a:cxn>
                      <a:cxn ang="0">
                        <a:pos x="44" y="143"/>
                      </a:cxn>
                      <a:cxn ang="0">
                        <a:pos x="39" y="128"/>
                      </a:cxn>
                      <a:cxn ang="0">
                        <a:pos x="30" y="106"/>
                      </a:cxn>
                      <a:cxn ang="0">
                        <a:pos x="11" y="91"/>
                      </a:cxn>
                      <a:cxn ang="0">
                        <a:pos x="0" y="69"/>
                      </a:cxn>
                      <a:cxn ang="0">
                        <a:pos x="2" y="48"/>
                      </a:cxn>
                      <a:cxn ang="0">
                        <a:pos x="14" y="34"/>
                      </a:cxn>
                      <a:cxn ang="0">
                        <a:pos x="67" y="24"/>
                      </a:cxn>
                      <a:cxn ang="0">
                        <a:pos x="74" y="15"/>
                      </a:cxn>
                      <a:cxn ang="0">
                        <a:pos x="76" y="7"/>
                      </a:cxn>
                      <a:cxn ang="0">
                        <a:pos x="87" y="0"/>
                      </a:cxn>
                      <a:cxn ang="0">
                        <a:pos x="109" y="3"/>
                      </a:cxn>
                      <a:cxn ang="0">
                        <a:pos x="121" y="4"/>
                      </a:cxn>
                      <a:cxn ang="0">
                        <a:pos x="125" y="3"/>
                      </a:cxn>
                    </a:cxnLst>
                    <a:rect l="0" t="0" r="r" b="b"/>
                    <a:pathLst>
                      <a:path w="192" h="145">
                        <a:moveTo>
                          <a:pt x="127" y="2"/>
                        </a:moveTo>
                        <a:lnTo>
                          <a:pt x="127" y="2"/>
                        </a:lnTo>
                        <a:lnTo>
                          <a:pt x="127" y="2"/>
                        </a:lnTo>
                        <a:lnTo>
                          <a:pt x="128" y="2"/>
                        </a:lnTo>
                        <a:lnTo>
                          <a:pt x="128" y="2"/>
                        </a:lnTo>
                        <a:lnTo>
                          <a:pt x="129" y="2"/>
                        </a:lnTo>
                        <a:lnTo>
                          <a:pt x="130" y="2"/>
                        </a:lnTo>
                        <a:lnTo>
                          <a:pt x="134" y="4"/>
                        </a:lnTo>
                        <a:lnTo>
                          <a:pt x="136" y="4"/>
                        </a:lnTo>
                        <a:lnTo>
                          <a:pt x="138" y="5"/>
                        </a:lnTo>
                        <a:lnTo>
                          <a:pt x="140" y="6"/>
                        </a:lnTo>
                        <a:lnTo>
                          <a:pt x="142" y="6"/>
                        </a:lnTo>
                        <a:lnTo>
                          <a:pt x="144" y="7"/>
                        </a:lnTo>
                        <a:lnTo>
                          <a:pt x="146" y="7"/>
                        </a:lnTo>
                        <a:lnTo>
                          <a:pt x="149" y="8"/>
                        </a:lnTo>
                        <a:lnTo>
                          <a:pt x="151" y="8"/>
                        </a:lnTo>
                        <a:lnTo>
                          <a:pt x="153" y="8"/>
                        </a:lnTo>
                        <a:lnTo>
                          <a:pt x="155" y="8"/>
                        </a:lnTo>
                        <a:lnTo>
                          <a:pt x="156" y="8"/>
                        </a:lnTo>
                        <a:lnTo>
                          <a:pt x="157" y="7"/>
                        </a:lnTo>
                        <a:lnTo>
                          <a:pt x="158" y="7"/>
                        </a:lnTo>
                        <a:lnTo>
                          <a:pt x="159" y="7"/>
                        </a:lnTo>
                        <a:lnTo>
                          <a:pt x="160" y="7"/>
                        </a:lnTo>
                        <a:lnTo>
                          <a:pt x="161" y="6"/>
                        </a:lnTo>
                        <a:lnTo>
                          <a:pt x="162" y="6"/>
                        </a:lnTo>
                        <a:lnTo>
                          <a:pt x="163" y="6"/>
                        </a:lnTo>
                        <a:lnTo>
                          <a:pt x="164" y="7"/>
                        </a:lnTo>
                        <a:lnTo>
                          <a:pt x="165" y="9"/>
                        </a:lnTo>
                        <a:lnTo>
                          <a:pt x="165" y="10"/>
                        </a:lnTo>
                        <a:lnTo>
                          <a:pt x="166" y="12"/>
                        </a:lnTo>
                        <a:lnTo>
                          <a:pt x="167" y="14"/>
                        </a:lnTo>
                        <a:lnTo>
                          <a:pt x="168" y="15"/>
                        </a:lnTo>
                        <a:lnTo>
                          <a:pt x="170" y="18"/>
                        </a:lnTo>
                        <a:lnTo>
                          <a:pt x="172" y="21"/>
                        </a:lnTo>
                        <a:lnTo>
                          <a:pt x="174" y="24"/>
                        </a:lnTo>
                        <a:lnTo>
                          <a:pt x="176" y="26"/>
                        </a:lnTo>
                        <a:lnTo>
                          <a:pt x="178" y="29"/>
                        </a:lnTo>
                        <a:lnTo>
                          <a:pt x="178" y="29"/>
                        </a:lnTo>
                        <a:lnTo>
                          <a:pt x="178" y="30"/>
                        </a:lnTo>
                        <a:lnTo>
                          <a:pt x="178" y="30"/>
                        </a:lnTo>
                        <a:lnTo>
                          <a:pt x="178" y="30"/>
                        </a:lnTo>
                        <a:lnTo>
                          <a:pt x="179" y="30"/>
                        </a:lnTo>
                        <a:lnTo>
                          <a:pt x="179" y="30"/>
                        </a:lnTo>
                        <a:lnTo>
                          <a:pt x="179" y="30"/>
                        </a:lnTo>
                        <a:lnTo>
                          <a:pt x="180" y="31"/>
                        </a:lnTo>
                        <a:lnTo>
                          <a:pt x="180" y="31"/>
                        </a:lnTo>
                        <a:lnTo>
                          <a:pt x="180" y="32"/>
                        </a:lnTo>
                        <a:lnTo>
                          <a:pt x="181" y="32"/>
                        </a:lnTo>
                        <a:lnTo>
                          <a:pt x="181" y="33"/>
                        </a:lnTo>
                        <a:lnTo>
                          <a:pt x="182" y="33"/>
                        </a:lnTo>
                        <a:lnTo>
                          <a:pt x="183" y="34"/>
                        </a:lnTo>
                        <a:lnTo>
                          <a:pt x="184" y="34"/>
                        </a:lnTo>
                        <a:lnTo>
                          <a:pt x="185" y="34"/>
                        </a:lnTo>
                        <a:lnTo>
                          <a:pt x="185" y="34"/>
                        </a:lnTo>
                        <a:lnTo>
                          <a:pt x="185" y="34"/>
                        </a:lnTo>
                        <a:lnTo>
                          <a:pt x="185" y="35"/>
                        </a:lnTo>
                        <a:lnTo>
                          <a:pt x="185" y="35"/>
                        </a:lnTo>
                        <a:lnTo>
                          <a:pt x="185" y="35"/>
                        </a:lnTo>
                        <a:lnTo>
                          <a:pt x="186" y="35"/>
                        </a:lnTo>
                        <a:lnTo>
                          <a:pt x="186" y="35"/>
                        </a:lnTo>
                        <a:lnTo>
                          <a:pt x="186" y="35"/>
                        </a:lnTo>
                        <a:lnTo>
                          <a:pt x="187" y="35"/>
                        </a:lnTo>
                        <a:lnTo>
                          <a:pt x="187" y="37"/>
                        </a:lnTo>
                        <a:lnTo>
                          <a:pt x="187" y="39"/>
                        </a:lnTo>
                        <a:lnTo>
                          <a:pt x="187" y="41"/>
                        </a:lnTo>
                        <a:lnTo>
                          <a:pt x="187" y="42"/>
                        </a:lnTo>
                        <a:lnTo>
                          <a:pt x="186" y="42"/>
                        </a:lnTo>
                        <a:lnTo>
                          <a:pt x="186" y="43"/>
                        </a:lnTo>
                        <a:lnTo>
                          <a:pt x="185" y="43"/>
                        </a:lnTo>
                        <a:lnTo>
                          <a:pt x="185" y="43"/>
                        </a:lnTo>
                        <a:lnTo>
                          <a:pt x="185" y="43"/>
                        </a:lnTo>
                        <a:lnTo>
                          <a:pt x="185" y="43"/>
                        </a:lnTo>
                        <a:lnTo>
                          <a:pt x="185" y="43"/>
                        </a:lnTo>
                        <a:lnTo>
                          <a:pt x="185" y="43"/>
                        </a:lnTo>
                        <a:lnTo>
                          <a:pt x="185" y="43"/>
                        </a:lnTo>
                        <a:lnTo>
                          <a:pt x="186" y="43"/>
                        </a:lnTo>
                        <a:lnTo>
                          <a:pt x="186" y="44"/>
                        </a:lnTo>
                        <a:lnTo>
                          <a:pt x="186" y="44"/>
                        </a:lnTo>
                        <a:lnTo>
                          <a:pt x="187" y="44"/>
                        </a:lnTo>
                        <a:lnTo>
                          <a:pt x="188" y="44"/>
                        </a:lnTo>
                        <a:lnTo>
                          <a:pt x="189" y="44"/>
                        </a:lnTo>
                        <a:lnTo>
                          <a:pt x="190" y="44"/>
                        </a:lnTo>
                        <a:lnTo>
                          <a:pt x="190" y="44"/>
                        </a:lnTo>
                        <a:lnTo>
                          <a:pt x="191" y="44"/>
                        </a:lnTo>
                        <a:lnTo>
                          <a:pt x="191" y="44"/>
                        </a:lnTo>
                        <a:lnTo>
                          <a:pt x="192" y="44"/>
                        </a:lnTo>
                        <a:lnTo>
                          <a:pt x="192" y="45"/>
                        </a:lnTo>
                        <a:lnTo>
                          <a:pt x="192" y="45"/>
                        </a:lnTo>
                        <a:lnTo>
                          <a:pt x="192" y="45"/>
                        </a:lnTo>
                        <a:lnTo>
                          <a:pt x="192" y="46"/>
                        </a:lnTo>
                        <a:lnTo>
                          <a:pt x="192" y="46"/>
                        </a:lnTo>
                        <a:lnTo>
                          <a:pt x="192" y="46"/>
                        </a:lnTo>
                        <a:lnTo>
                          <a:pt x="192" y="47"/>
                        </a:lnTo>
                        <a:lnTo>
                          <a:pt x="191" y="47"/>
                        </a:lnTo>
                        <a:lnTo>
                          <a:pt x="191" y="48"/>
                        </a:lnTo>
                        <a:lnTo>
                          <a:pt x="191" y="49"/>
                        </a:lnTo>
                        <a:lnTo>
                          <a:pt x="191" y="49"/>
                        </a:lnTo>
                        <a:lnTo>
                          <a:pt x="191" y="50"/>
                        </a:lnTo>
                        <a:lnTo>
                          <a:pt x="191" y="50"/>
                        </a:lnTo>
                        <a:lnTo>
                          <a:pt x="190" y="50"/>
                        </a:lnTo>
                        <a:lnTo>
                          <a:pt x="190" y="50"/>
                        </a:lnTo>
                        <a:lnTo>
                          <a:pt x="190" y="50"/>
                        </a:lnTo>
                        <a:lnTo>
                          <a:pt x="190" y="50"/>
                        </a:lnTo>
                        <a:lnTo>
                          <a:pt x="190" y="50"/>
                        </a:lnTo>
                        <a:lnTo>
                          <a:pt x="190" y="49"/>
                        </a:lnTo>
                        <a:lnTo>
                          <a:pt x="189" y="49"/>
                        </a:lnTo>
                        <a:lnTo>
                          <a:pt x="189" y="49"/>
                        </a:lnTo>
                        <a:lnTo>
                          <a:pt x="189" y="49"/>
                        </a:lnTo>
                        <a:lnTo>
                          <a:pt x="188" y="49"/>
                        </a:lnTo>
                        <a:lnTo>
                          <a:pt x="188" y="49"/>
                        </a:lnTo>
                        <a:lnTo>
                          <a:pt x="188" y="49"/>
                        </a:lnTo>
                        <a:lnTo>
                          <a:pt x="188" y="49"/>
                        </a:lnTo>
                        <a:lnTo>
                          <a:pt x="187" y="49"/>
                        </a:lnTo>
                        <a:lnTo>
                          <a:pt x="187" y="49"/>
                        </a:lnTo>
                        <a:lnTo>
                          <a:pt x="187" y="49"/>
                        </a:lnTo>
                        <a:lnTo>
                          <a:pt x="186" y="48"/>
                        </a:lnTo>
                        <a:lnTo>
                          <a:pt x="186" y="48"/>
                        </a:lnTo>
                        <a:lnTo>
                          <a:pt x="186" y="48"/>
                        </a:lnTo>
                        <a:lnTo>
                          <a:pt x="186" y="48"/>
                        </a:lnTo>
                        <a:lnTo>
                          <a:pt x="186" y="48"/>
                        </a:lnTo>
                        <a:lnTo>
                          <a:pt x="186" y="48"/>
                        </a:lnTo>
                        <a:lnTo>
                          <a:pt x="186" y="48"/>
                        </a:lnTo>
                        <a:lnTo>
                          <a:pt x="185" y="48"/>
                        </a:lnTo>
                        <a:lnTo>
                          <a:pt x="185" y="48"/>
                        </a:lnTo>
                        <a:lnTo>
                          <a:pt x="185" y="48"/>
                        </a:lnTo>
                        <a:lnTo>
                          <a:pt x="185" y="48"/>
                        </a:lnTo>
                        <a:lnTo>
                          <a:pt x="185" y="49"/>
                        </a:lnTo>
                        <a:lnTo>
                          <a:pt x="184" y="49"/>
                        </a:lnTo>
                        <a:lnTo>
                          <a:pt x="184" y="49"/>
                        </a:lnTo>
                        <a:lnTo>
                          <a:pt x="184" y="49"/>
                        </a:lnTo>
                        <a:lnTo>
                          <a:pt x="183" y="49"/>
                        </a:lnTo>
                        <a:lnTo>
                          <a:pt x="183" y="50"/>
                        </a:lnTo>
                        <a:lnTo>
                          <a:pt x="182" y="50"/>
                        </a:lnTo>
                        <a:lnTo>
                          <a:pt x="181" y="50"/>
                        </a:lnTo>
                        <a:lnTo>
                          <a:pt x="181" y="51"/>
                        </a:lnTo>
                        <a:lnTo>
                          <a:pt x="181" y="51"/>
                        </a:lnTo>
                        <a:lnTo>
                          <a:pt x="180" y="51"/>
                        </a:lnTo>
                        <a:lnTo>
                          <a:pt x="180" y="50"/>
                        </a:lnTo>
                        <a:lnTo>
                          <a:pt x="179" y="50"/>
                        </a:lnTo>
                        <a:lnTo>
                          <a:pt x="179" y="50"/>
                        </a:lnTo>
                        <a:lnTo>
                          <a:pt x="179" y="50"/>
                        </a:lnTo>
                        <a:lnTo>
                          <a:pt x="178" y="50"/>
                        </a:lnTo>
                        <a:lnTo>
                          <a:pt x="178" y="50"/>
                        </a:lnTo>
                        <a:lnTo>
                          <a:pt x="178" y="50"/>
                        </a:lnTo>
                        <a:lnTo>
                          <a:pt x="177" y="50"/>
                        </a:lnTo>
                        <a:lnTo>
                          <a:pt x="177" y="50"/>
                        </a:lnTo>
                        <a:lnTo>
                          <a:pt x="176" y="50"/>
                        </a:lnTo>
                        <a:lnTo>
                          <a:pt x="176" y="49"/>
                        </a:lnTo>
                        <a:lnTo>
                          <a:pt x="176" y="49"/>
                        </a:lnTo>
                        <a:lnTo>
                          <a:pt x="175" y="48"/>
                        </a:lnTo>
                        <a:lnTo>
                          <a:pt x="175" y="48"/>
                        </a:lnTo>
                        <a:lnTo>
                          <a:pt x="175" y="47"/>
                        </a:lnTo>
                        <a:lnTo>
                          <a:pt x="174" y="47"/>
                        </a:lnTo>
                        <a:lnTo>
                          <a:pt x="174" y="47"/>
                        </a:lnTo>
                        <a:lnTo>
                          <a:pt x="174" y="47"/>
                        </a:lnTo>
                        <a:lnTo>
                          <a:pt x="173" y="47"/>
                        </a:lnTo>
                        <a:lnTo>
                          <a:pt x="172" y="47"/>
                        </a:lnTo>
                        <a:lnTo>
                          <a:pt x="172" y="47"/>
                        </a:lnTo>
                        <a:lnTo>
                          <a:pt x="171" y="47"/>
                        </a:lnTo>
                        <a:lnTo>
                          <a:pt x="171" y="47"/>
                        </a:lnTo>
                        <a:lnTo>
                          <a:pt x="170" y="47"/>
                        </a:lnTo>
                        <a:lnTo>
                          <a:pt x="170" y="47"/>
                        </a:lnTo>
                        <a:lnTo>
                          <a:pt x="170" y="48"/>
                        </a:lnTo>
                        <a:lnTo>
                          <a:pt x="170" y="48"/>
                        </a:lnTo>
                        <a:lnTo>
                          <a:pt x="170" y="48"/>
                        </a:lnTo>
                        <a:lnTo>
                          <a:pt x="170" y="49"/>
                        </a:lnTo>
                        <a:lnTo>
                          <a:pt x="169" y="49"/>
                        </a:lnTo>
                        <a:lnTo>
                          <a:pt x="168" y="49"/>
                        </a:lnTo>
                        <a:lnTo>
                          <a:pt x="167" y="49"/>
                        </a:lnTo>
                        <a:lnTo>
                          <a:pt x="166" y="49"/>
                        </a:lnTo>
                        <a:lnTo>
                          <a:pt x="166" y="49"/>
                        </a:lnTo>
                        <a:lnTo>
                          <a:pt x="165" y="49"/>
                        </a:lnTo>
                        <a:lnTo>
                          <a:pt x="165" y="49"/>
                        </a:lnTo>
                        <a:lnTo>
                          <a:pt x="165" y="49"/>
                        </a:lnTo>
                        <a:lnTo>
                          <a:pt x="165" y="49"/>
                        </a:lnTo>
                        <a:lnTo>
                          <a:pt x="165" y="49"/>
                        </a:lnTo>
                        <a:lnTo>
                          <a:pt x="165" y="50"/>
                        </a:lnTo>
                        <a:lnTo>
                          <a:pt x="165" y="50"/>
                        </a:lnTo>
                        <a:lnTo>
                          <a:pt x="164" y="51"/>
                        </a:lnTo>
                        <a:lnTo>
                          <a:pt x="163" y="51"/>
                        </a:lnTo>
                        <a:lnTo>
                          <a:pt x="163" y="51"/>
                        </a:lnTo>
                        <a:lnTo>
                          <a:pt x="162" y="51"/>
                        </a:lnTo>
                        <a:lnTo>
                          <a:pt x="161" y="51"/>
                        </a:lnTo>
                        <a:lnTo>
                          <a:pt x="161" y="52"/>
                        </a:lnTo>
                        <a:lnTo>
                          <a:pt x="160" y="52"/>
                        </a:lnTo>
                        <a:lnTo>
                          <a:pt x="159" y="52"/>
                        </a:lnTo>
                        <a:lnTo>
                          <a:pt x="159" y="52"/>
                        </a:lnTo>
                        <a:lnTo>
                          <a:pt x="159" y="52"/>
                        </a:lnTo>
                        <a:lnTo>
                          <a:pt x="158" y="52"/>
                        </a:lnTo>
                        <a:lnTo>
                          <a:pt x="158" y="53"/>
                        </a:lnTo>
                        <a:lnTo>
                          <a:pt x="158" y="53"/>
                        </a:lnTo>
                        <a:lnTo>
                          <a:pt x="158" y="53"/>
                        </a:lnTo>
                        <a:lnTo>
                          <a:pt x="158" y="54"/>
                        </a:lnTo>
                        <a:lnTo>
                          <a:pt x="158" y="54"/>
                        </a:lnTo>
                        <a:lnTo>
                          <a:pt x="157" y="54"/>
                        </a:lnTo>
                        <a:lnTo>
                          <a:pt x="157" y="54"/>
                        </a:lnTo>
                        <a:lnTo>
                          <a:pt x="157" y="54"/>
                        </a:lnTo>
                        <a:lnTo>
                          <a:pt x="157" y="54"/>
                        </a:lnTo>
                        <a:lnTo>
                          <a:pt x="156" y="54"/>
                        </a:lnTo>
                        <a:lnTo>
                          <a:pt x="155" y="54"/>
                        </a:lnTo>
                        <a:lnTo>
                          <a:pt x="155" y="54"/>
                        </a:lnTo>
                        <a:lnTo>
                          <a:pt x="155" y="54"/>
                        </a:lnTo>
                        <a:lnTo>
                          <a:pt x="155" y="54"/>
                        </a:lnTo>
                        <a:lnTo>
                          <a:pt x="155" y="55"/>
                        </a:lnTo>
                        <a:lnTo>
                          <a:pt x="155" y="55"/>
                        </a:lnTo>
                        <a:lnTo>
                          <a:pt x="155" y="56"/>
                        </a:lnTo>
                        <a:lnTo>
                          <a:pt x="154" y="56"/>
                        </a:lnTo>
                        <a:lnTo>
                          <a:pt x="154" y="56"/>
                        </a:lnTo>
                        <a:lnTo>
                          <a:pt x="153" y="56"/>
                        </a:lnTo>
                        <a:lnTo>
                          <a:pt x="153" y="56"/>
                        </a:lnTo>
                        <a:lnTo>
                          <a:pt x="153" y="55"/>
                        </a:lnTo>
                        <a:lnTo>
                          <a:pt x="152" y="55"/>
                        </a:lnTo>
                        <a:lnTo>
                          <a:pt x="152" y="55"/>
                        </a:lnTo>
                        <a:lnTo>
                          <a:pt x="152" y="56"/>
                        </a:lnTo>
                        <a:lnTo>
                          <a:pt x="152" y="56"/>
                        </a:lnTo>
                        <a:lnTo>
                          <a:pt x="151" y="56"/>
                        </a:lnTo>
                        <a:lnTo>
                          <a:pt x="151" y="57"/>
                        </a:lnTo>
                        <a:lnTo>
                          <a:pt x="151" y="57"/>
                        </a:lnTo>
                        <a:lnTo>
                          <a:pt x="151" y="57"/>
                        </a:lnTo>
                        <a:lnTo>
                          <a:pt x="151" y="57"/>
                        </a:lnTo>
                        <a:lnTo>
                          <a:pt x="150" y="57"/>
                        </a:lnTo>
                        <a:lnTo>
                          <a:pt x="150" y="57"/>
                        </a:lnTo>
                        <a:lnTo>
                          <a:pt x="149" y="57"/>
                        </a:lnTo>
                        <a:lnTo>
                          <a:pt x="149" y="57"/>
                        </a:lnTo>
                        <a:lnTo>
                          <a:pt x="149" y="57"/>
                        </a:lnTo>
                        <a:lnTo>
                          <a:pt x="149" y="57"/>
                        </a:lnTo>
                        <a:lnTo>
                          <a:pt x="148" y="58"/>
                        </a:lnTo>
                        <a:lnTo>
                          <a:pt x="148" y="58"/>
                        </a:lnTo>
                        <a:lnTo>
                          <a:pt x="148" y="58"/>
                        </a:lnTo>
                        <a:lnTo>
                          <a:pt x="148" y="59"/>
                        </a:lnTo>
                        <a:lnTo>
                          <a:pt x="148" y="59"/>
                        </a:lnTo>
                        <a:lnTo>
                          <a:pt x="147" y="60"/>
                        </a:lnTo>
                        <a:lnTo>
                          <a:pt x="145" y="60"/>
                        </a:lnTo>
                        <a:lnTo>
                          <a:pt x="144" y="61"/>
                        </a:lnTo>
                        <a:lnTo>
                          <a:pt x="142" y="61"/>
                        </a:lnTo>
                        <a:lnTo>
                          <a:pt x="142" y="62"/>
                        </a:lnTo>
                        <a:lnTo>
                          <a:pt x="141" y="62"/>
                        </a:lnTo>
                        <a:lnTo>
                          <a:pt x="140" y="63"/>
                        </a:lnTo>
                        <a:lnTo>
                          <a:pt x="140" y="63"/>
                        </a:lnTo>
                        <a:lnTo>
                          <a:pt x="139" y="64"/>
                        </a:lnTo>
                        <a:lnTo>
                          <a:pt x="139" y="64"/>
                        </a:lnTo>
                        <a:lnTo>
                          <a:pt x="139" y="65"/>
                        </a:lnTo>
                        <a:lnTo>
                          <a:pt x="138" y="65"/>
                        </a:lnTo>
                        <a:lnTo>
                          <a:pt x="138" y="65"/>
                        </a:lnTo>
                        <a:lnTo>
                          <a:pt x="137" y="65"/>
                        </a:lnTo>
                        <a:lnTo>
                          <a:pt x="137" y="65"/>
                        </a:lnTo>
                        <a:lnTo>
                          <a:pt x="137" y="66"/>
                        </a:lnTo>
                        <a:lnTo>
                          <a:pt x="137" y="66"/>
                        </a:lnTo>
                        <a:lnTo>
                          <a:pt x="137" y="66"/>
                        </a:lnTo>
                        <a:lnTo>
                          <a:pt x="137" y="67"/>
                        </a:lnTo>
                        <a:lnTo>
                          <a:pt x="137" y="67"/>
                        </a:lnTo>
                        <a:lnTo>
                          <a:pt x="137" y="68"/>
                        </a:lnTo>
                        <a:lnTo>
                          <a:pt x="137" y="70"/>
                        </a:lnTo>
                        <a:lnTo>
                          <a:pt x="137" y="71"/>
                        </a:lnTo>
                        <a:lnTo>
                          <a:pt x="137" y="72"/>
                        </a:lnTo>
                        <a:lnTo>
                          <a:pt x="137" y="72"/>
                        </a:lnTo>
                        <a:lnTo>
                          <a:pt x="137" y="73"/>
                        </a:lnTo>
                        <a:lnTo>
                          <a:pt x="137" y="73"/>
                        </a:lnTo>
                        <a:lnTo>
                          <a:pt x="137" y="73"/>
                        </a:lnTo>
                        <a:lnTo>
                          <a:pt x="138" y="74"/>
                        </a:lnTo>
                        <a:lnTo>
                          <a:pt x="138" y="74"/>
                        </a:lnTo>
                        <a:lnTo>
                          <a:pt x="138" y="74"/>
                        </a:lnTo>
                        <a:lnTo>
                          <a:pt x="139" y="74"/>
                        </a:lnTo>
                        <a:lnTo>
                          <a:pt x="140" y="74"/>
                        </a:lnTo>
                        <a:lnTo>
                          <a:pt x="141" y="74"/>
                        </a:lnTo>
                        <a:lnTo>
                          <a:pt x="142" y="74"/>
                        </a:lnTo>
                        <a:lnTo>
                          <a:pt x="143" y="74"/>
                        </a:lnTo>
                        <a:lnTo>
                          <a:pt x="144" y="74"/>
                        </a:lnTo>
                        <a:lnTo>
                          <a:pt x="145" y="74"/>
                        </a:lnTo>
                        <a:lnTo>
                          <a:pt x="146" y="74"/>
                        </a:lnTo>
                        <a:lnTo>
                          <a:pt x="147" y="74"/>
                        </a:lnTo>
                        <a:lnTo>
                          <a:pt x="147" y="74"/>
                        </a:lnTo>
                        <a:lnTo>
                          <a:pt x="148" y="74"/>
                        </a:lnTo>
                        <a:lnTo>
                          <a:pt x="148" y="74"/>
                        </a:lnTo>
                        <a:lnTo>
                          <a:pt x="148" y="75"/>
                        </a:lnTo>
                        <a:lnTo>
                          <a:pt x="148" y="75"/>
                        </a:lnTo>
                        <a:lnTo>
                          <a:pt x="149" y="75"/>
                        </a:lnTo>
                        <a:lnTo>
                          <a:pt x="149" y="76"/>
                        </a:lnTo>
                        <a:lnTo>
                          <a:pt x="148" y="76"/>
                        </a:lnTo>
                        <a:lnTo>
                          <a:pt x="148" y="77"/>
                        </a:lnTo>
                        <a:lnTo>
                          <a:pt x="148" y="77"/>
                        </a:lnTo>
                        <a:lnTo>
                          <a:pt x="147" y="77"/>
                        </a:lnTo>
                        <a:lnTo>
                          <a:pt x="147" y="77"/>
                        </a:lnTo>
                        <a:lnTo>
                          <a:pt x="147" y="77"/>
                        </a:lnTo>
                        <a:lnTo>
                          <a:pt x="147" y="78"/>
                        </a:lnTo>
                        <a:lnTo>
                          <a:pt x="146" y="78"/>
                        </a:lnTo>
                        <a:lnTo>
                          <a:pt x="146" y="78"/>
                        </a:lnTo>
                        <a:lnTo>
                          <a:pt x="146" y="79"/>
                        </a:lnTo>
                        <a:lnTo>
                          <a:pt x="146" y="80"/>
                        </a:lnTo>
                        <a:lnTo>
                          <a:pt x="146" y="82"/>
                        </a:lnTo>
                        <a:lnTo>
                          <a:pt x="146" y="84"/>
                        </a:lnTo>
                        <a:lnTo>
                          <a:pt x="146" y="86"/>
                        </a:lnTo>
                        <a:lnTo>
                          <a:pt x="146" y="86"/>
                        </a:lnTo>
                        <a:lnTo>
                          <a:pt x="146" y="86"/>
                        </a:lnTo>
                        <a:lnTo>
                          <a:pt x="146" y="87"/>
                        </a:lnTo>
                        <a:lnTo>
                          <a:pt x="147" y="87"/>
                        </a:lnTo>
                        <a:lnTo>
                          <a:pt x="147" y="87"/>
                        </a:lnTo>
                        <a:lnTo>
                          <a:pt x="147" y="87"/>
                        </a:lnTo>
                        <a:lnTo>
                          <a:pt x="148" y="87"/>
                        </a:lnTo>
                        <a:lnTo>
                          <a:pt x="148" y="87"/>
                        </a:lnTo>
                        <a:lnTo>
                          <a:pt x="148" y="89"/>
                        </a:lnTo>
                        <a:lnTo>
                          <a:pt x="149" y="90"/>
                        </a:lnTo>
                        <a:lnTo>
                          <a:pt x="149" y="91"/>
                        </a:lnTo>
                        <a:lnTo>
                          <a:pt x="149" y="92"/>
                        </a:lnTo>
                        <a:lnTo>
                          <a:pt x="150" y="93"/>
                        </a:lnTo>
                        <a:lnTo>
                          <a:pt x="150" y="94"/>
                        </a:lnTo>
                        <a:lnTo>
                          <a:pt x="151" y="95"/>
                        </a:lnTo>
                        <a:lnTo>
                          <a:pt x="152" y="96"/>
                        </a:lnTo>
                        <a:lnTo>
                          <a:pt x="153" y="98"/>
                        </a:lnTo>
                        <a:lnTo>
                          <a:pt x="154" y="100"/>
                        </a:lnTo>
                        <a:lnTo>
                          <a:pt x="155" y="101"/>
                        </a:lnTo>
                        <a:lnTo>
                          <a:pt x="155" y="102"/>
                        </a:lnTo>
                        <a:lnTo>
                          <a:pt x="156" y="103"/>
                        </a:lnTo>
                        <a:lnTo>
                          <a:pt x="157" y="104"/>
                        </a:lnTo>
                        <a:lnTo>
                          <a:pt x="156" y="104"/>
                        </a:lnTo>
                        <a:lnTo>
                          <a:pt x="156" y="104"/>
                        </a:lnTo>
                        <a:lnTo>
                          <a:pt x="156" y="105"/>
                        </a:lnTo>
                        <a:lnTo>
                          <a:pt x="157" y="105"/>
                        </a:lnTo>
                        <a:lnTo>
                          <a:pt x="157" y="105"/>
                        </a:lnTo>
                        <a:lnTo>
                          <a:pt x="157" y="105"/>
                        </a:lnTo>
                        <a:lnTo>
                          <a:pt x="158" y="105"/>
                        </a:lnTo>
                        <a:lnTo>
                          <a:pt x="158" y="105"/>
                        </a:lnTo>
                        <a:lnTo>
                          <a:pt x="158" y="106"/>
                        </a:lnTo>
                        <a:lnTo>
                          <a:pt x="158" y="106"/>
                        </a:lnTo>
                        <a:lnTo>
                          <a:pt x="159" y="107"/>
                        </a:lnTo>
                        <a:lnTo>
                          <a:pt x="159" y="107"/>
                        </a:lnTo>
                        <a:lnTo>
                          <a:pt x="159" y="108"/>
                        </a:lnTo>
                        <a:lnTo>
                          <a:pt x="160" y="108"/>
                        </a:lnTo>
                        <a:lnTo>
                          <a:pt x="160" y="109"/>
                        </a:lnTo>
                        <a:lnTo>
                          <a:pt x="160" y="109"/>
                        </a:lnTo>
                        <a:lnTo>
                          <a:pt x="160" y="110"/>
                        </a:lnTo>
                        <a:lnTo>
                          <a:pt x="160" y="110"/>
                        </a:lnTo>
                        <a:lnTo>
                          <a:pt x="160" y="110"/>
                        </a:lnTo>
                        <a:lnTo>
                          <a:pt x="160" y="110"/>
                        </a:lnTo>
                        <a:lnTo>
                          <a:pt x="161" y="110"/>
                        </a:lnTo>
                        <a:lnTo>
                          <a:pt x="161" y="110"/>
                        </a:lnTo>
                        <a:lnTo>
                          <a:pt x="162" y="111"/>
                        </a:lnTo>
                        <a:lnTo>
                          <a:pt x="162" y="111"/>
                        </a:lnTo>
                        <a:lnTo>
                          <a:pt x="162" y="112"/>
                        </a:lnTo>
                        <a:lnTo>
                          <a:pt x="162" y="114"/>
                        </a:lnTo>
                        <a:lnTo>
                          <a:pt x="162" y="115"/>
                        </a:lnTo>
                        <a:lnTo>
                          <a:pt x="162" y="116"/>
                        </a:lnTo>
                        <a:lnTo>
                          <a:pt x="162" y="117"/>
                        </a:lnTo>
                        <a:lnTo>
                          <a:pt x="161" y="117"/>
                        </a:lnTo>
                        <a:lnTo>
                          <a:pt x="161" y="118"/>
                        </a:lnTo>
                        <a:lnTo>
                          <a:pt x="162" y="118"/>
                        </a:lnTo>
                        <a:lnTo>
                          <a:pt x="162" y="118"/>
                        </a:lnTo>
                        <a:lnTo>
                          <a:pt x="162" y="118"/>
                        </a:lnTo>
                        <a:lnTo>
                          <a:pt x="162" y="119"/>
                        </a:lnTo>
                        <a:lnTo>
                          <a:pt x="163" y="119"/>
                        </a:lnTo>
                        <a:lnTo>
                          <a:pt x="163" y="119"/>
                        </a:lnTo>
                        <a:lnTo>
                          <a:pt x="164" y="119"/>
                        </a:lnTo>
                        <a:lnTo>
                          <a:pt x="164" y="119"/>
                        </a:lnTo>
                        <a:lnTo>
                          <a:pt x="164" y="119"/>
                        </a:lnTo>
                        <a:lnTo>
                          <a:pt x="164" y="119"/>
                        </a:lnTo>
                        <a:lnTo>
                          <a:pt x="164" y="119"/>
                        </a:lnTo>
                        <a:lnTo>
                          <a:pt x="164" y="119"/>
                        </a:lnTo>
                        <a:lnTo>
                          <a:pt x="164" y="119"/>
                        </a:lnTo>
                        <a:lnTo>
                          <a:pt x="164" y="120"/>
                        </a:lnTo>
                        <a:lnTo>
                          <a:pt x="164" y="120"/>
                        </a:lnTo>
                        <a:lnTo>
                          <a:pt x="163" y="120"/>
                        </a:lnTo>
                        <a:lnTo>
                          <a:pt x="163" y="120"/>
                        </a:lnTo>
                        <a:lnTo>
                          <a:pt x="162" y="120"/>
                        </a:lnTo>
                        <a:lnTo>
                          <a:pt x="161" y="121"/>
                        </a:lnTo>
                        <a:lnTo>
                          <a:pt x="161" y="121"/>
                        </a:lnTo>
                        <a:lnTo>
                          <a:pt x="160" y="121"/>
                        </a:lnTo>
                        <a:lnTo>
                          <a:pt x="159" y="122"/>
                        </a:lnTo>
                        <a:lnTo>
                          <a:pt x="158" y="122"/>
                        </a:lnTo>
                        <a:lnTo>
                          <a:pt x="158" y="122"/>
                        </a:lnTo>
                        <a:lnTo>
                          <a:pt x="157" y="123"/>
                        </a:lnTo>
                        <a:lnTo>
                          <a:pt x="157" y="123"/>
                        </a:lnTo>
                        <a:lnTo>
                          <a:pt x="157" y="123"/>
                        </a:lnTo>
                        <a:lnTo>
                          <a:pt x="157" y="123"/>
                        </a:lnTo>
                        <a:lnTo>
                          <a:pt x="157" y="124"/>
                        </a:lnTo>
                        <a:lnTo>
                          <a:pt x="156" y="124"/>
                        </a:lnTo>
                        <a:lnTo>
                          <a:pt x="156" y="125"/>
                        </a:lnTo>
                        <a:lnTo>
                          <a:pt x="157" y="126"/>
                        </a:lnTo>
                        <a:lnTo>
                          <a:pt x="157" y="126"/>
                        </a:lnTo>
                        <a:lnTo>
                          <a:pt x="157" y="127"/>
                        </a:lnTo>
                        <a:lnTo>
                          <a:pt x="157" y="127"/>
                        </a:lnTo>
                        <a:lnTo>
                          <a:pt x="158" y="128"/>
                        </a:lnTo>
                        <a:lnTo>
                          <a:pt x="158" y="128"/>
                        </a:lnTo>
                        <a:lnTo>
                          <a:pt x="158" y="129"/>
                        </a:lnTo>
                        <a:lnTo>
                          <a:pt x="158" y="129"/>
                        </a:lnTo>
                        <a:lnTo>
                          <a:pt x="158" y="130"/>
                        </a:lnTo>
                        <a:lnTo>
                          <a:pt x="158" y="130"/>
                        </a:lnTo>
                        <a:lnTo>
                          <a:pt x="158" y="130"/>
                        </a:lnTo>
                        <a:lnTo>
                          <a:pt x="158" y="130"/>
                        </a:lnTo>
                        <a:lnTo>
                          <a:pt x="157" y="130"/>
                        </a:lnTo>
                        <a:lnTo>
                          <a:pt x="157" y="130"/>
                        </a:lnTo>
                        <a:lnTo>
                          <a:pt x="157" y="130"/>
                        </a:lnTo>
                        <a:lnTo>
                          <a:pt x="156" y="130"/>
                        </a:lnTo>
                        <a:lnTo>
                          <a:pt x="156" y="130"/>
                        </a:lnTo>
                        <a:lnTo>
                          <a:pt x="155" y="130"/>
                        </a:lnTo>
                        <a:lnTo>
                          <a:pt x="155" y="130"/>
                        </a:lnTo>
                        <a:lnTo>
                          <a:pt x="154" y="130"/>
                        </a:lnTo>
                        <a:lnTo>
                          <a:pt x="154" y="130"/>
                        </a:lnTo>
                        <a:lnTo>
                          <a:pt x="154" y="130"/>
                        </a:lnTo>
                        <a:lnTo>
                          <a:pt x="153" y="130"/>
                        </a:lnTo>
                        <a:lnTo>
                          <a:pt x="153" y="131"/>
                        </a:lnTo>
                        <a:lnTo>
                          <a:pt x="153" y="131"/>
                        </a:lnTo>
                        <a:lnTo>
                          <a:pt x="153" y="131"/>
                        </a:lnTo>
                        <a:lnTo>
                          <a:pt x="153" y="132"/>
                        </a:lnTo>
                        <a:lnTo>
                          <a:pt x="153" y="133"/>
                        </a:lnTo>
                        <a:lnTo>
                          <a:pt x="153" y="135"/>
                        </a:lnTo>
                        <a:lnTo>
                          <a:pt x="153" y="136"/>
                        </a:lnTo>
                        <a:lnTo>
                          <a:pt x="153" y="137"/>
                        </a:lnTo>
                        <a:lnTo>
                          <a:pt x="153" y="137"/>
                        </a:lnTo>
                        <a:lnTo>
                          <a:pt x="153" y="138"/>
                        </a:lnTo>
                        <a:lnTo>
                          <a:pt x="154" y="139"/>
                        </a:lnTo>
                        <a:lnTo>
                          <a:pt x="154" y="140"/>
                        </a:lnTo>
                        <a:lnTo>
                          <a:pt x="155" y="141"/>
                        </a:lnTo>
                        <a:lnTo>
                          <a:pt x="155" y="142"/>
                        </a:lnTo>
                        <a:lnTo>
                          <a:pt x="156" y="143"/>
                        </a:lnTo>
                        <a:lnTo>
                          <a:pt x="156" y="144"/>
                        </a:lnTo>
                        <a:lnTo>
                          <a:pt x="156" y="145"/>
                        </a:lnTo>
                        <a:lnTo>
                          <a:pt x="157" y="145"/>
                        </a:lnTo>
                        <a:lnTo>
                          <a:pt x="156" y="145"/>
                        </a:lnTo>
                        <a:lnTo>
                          <a:pt x="156" y="145"/>
                        </a:lnTo>
                        <a:lnTo>
                          <a:pt x="156" y="145"/>
                        </a:lnTo>
                        <a:lnTo>
                          <a:pt x="155" y="145"/>
                        </a:lnTo>
                        <a:lnTo>
                          <a:pt x="155" y="145"/>
                        </a:lnTo>
                        <a:lnTo>
                          <a:pt x="154" y="145"/>
                        </a:lnTo>
                        <a:lnTo>
                          <a:pt x="153" y="145"/>
                        </a:lnTo>
                        <a:lnTo>
                          <a:pt x="152" y="145"/>
                        </a:lnTo>
                        <a:lnTo>
                          <a:pt x="151" y="145"/>
                        </a:lnTo>
                        <a:lnTo>
                          <a:pt x="152" y="145"/>
                        </a:lnTo>
                        <a:lnTo>
                          <a:pt x="152" y="145"/>
                        </a:lnTo>
                        <a:lnTo>
                          <a:pt x="152" y="144"/>
                        </a:lnTo>
                        <a:lnTo>
                          <a:pt x="151" y="144"/>
                        </a:lnTo>
                        <a:lnTo>
                          <a:pt x="151" y="144"/>
                        </a:lnTo>
                        <a:lnTo>
                          <a:pt x="151" y="144"/>
                        </a:lnTo>
                        <a:lnTo>
                          <a:pt x="151" y="144"/>
                        </a:lnTo>
                        <a:lnTo>
                          <a:pt x="150" y="144"/>
                        </a:lnTo>
                        <a:lnTo>
                          <a:pt x="149" y="143"/>
                        </a:lnTo>
                        <a:lnTo>
                          <a:pt x="148" y="143"/>
                        </a:lnTo>
                        <a:lnTo>
                          <a:pt x="148" y="143"/>
                        </a:lnTo>
                        <a:lnTo>
                          <a:pt x="147" y="142"/>
                        </a:lnTo>
                        <a:lnTo>
                          <a:pt x="146" y="142"/>
                        </a:lnTo>
                        <a:lnTo>
                          <a:pt x="146" y="142"/>
                        </a:lnTo>
                        <a:lnTo>
                          <a:pt x="145" y="142"/>
                        </a:lnTo>
                        <a:lnTo>
                          <a:pt x="145" y="142"/>
                        </a:lnTo>
                        <a:lnTo>
                          <a:pt x="144" y="142"/>
                        </a:lnTo>
                        <a:lnTo>
                          <a:pt x="144" y="142"/>
                        </a:lnTo>
                        <a:lnTo>
                          <a:pt x="143" y="142"/>
                        </a:lnTo>
                        <a:lnTo>
                          <a:pt x="141" y="142"/>
                        </a:lnTo>
                        <a:lnTo>
                          <a:pt x="140" y="142"/>
                        </a:lnTo>
                        <a:lnTo>
                          <a:pt x="138" y="142"/>
                        </a:lnTo>
                        <a:lnTo>
                          <a:pt x="137" y="142"/>
                        </a:lnTo>
                        <a:lnTo>
                          <a:pt x="136" y="142"/>
                        </a:lnTo>
                        <a:lnTo>
                          <a:pt x="135" y="141"/>
                        </a:lnTo>
                        <a:lnTo>
                          <a:pt x="135" y="141"/>
                        </a:lnTo>
                        <a:lnTo>
                          <a:pt x="134" y="141"/>
                        </a:lnTo>
                        <a:lnTo>
                          <a:pt x="134" y="140"/>
                        </a:lnTo>
                        <a:lnTo>
                          <a:pt x="134" y="140"/>
                        </a:lnTo>
                        <a:lnTo>
                          <a:pt x="133" y="139"/>
                        </a:lnTo>
                        <a:lnTo>
                          <a:pt x="133" y="139"/>
                        </a:lnTo>
                        <a:lnTo>
                          <a:pt x="133" y="138"/>
                        </a:lnTo>
                        <a:lnTo>
                          <a:pt x="133" y="138"/>
                        </a:lnTo>
                        <a:lnTo>
                          <a:pt x="133" y="137"/>
                        </a:lnTo>
                        <a:lnTo>
                          <a:pt x="133" y="137"/>
                        </a:lnTo>
                        <a:lnTo>
                          <a:pt x="133" y="137"/>
                        </a:lnTo>
                        <a:lnTo>
                          <a:pt x="132" y="137"/>
                        </a:lnTo>
                        <a:lnTo>
                          <a:pt x="132" y="137"/>
                        </a:lnTo>
                        <a:lnTo>
                          <a:pt x="128" y="137"/>
                        </a:lnTo>
                        <a:lnTo>
                          <a:pt x="125" y="137"/>
                        </a:lnTo>
                        <a:lnTo>
                          <a:pt x="121" y="137"/>
                        </a:lnTo>
                        <a:lnTo>
                          <a:pt x="118" y="137"/>
                        </a:lnTo>
                        <a:lnTo>
                          <a:pt x="118" y="136"/>
                        </a:lnTo>
                        <a:lnTo>
                          <a:pt x="118" y="136"/>
                        </a:lnTo>
                        <a:lnTo>
                          <a:pt x="118" y="136"/>
                        </a:lnTo>
                        <a:lnTo>
                          <a:pt x="118" y="136"/>
                        </a:lnTo>
                        <a:lnTo>
                          <a:pt x="118" y="135"/>
                        </a:lnTo>
                        <a:lnTo>
                          <a:pt x="117" y="135"/>
                        </a:lnTo>
                        <a:lnTo>
                          <a:pt x="117" y="135"/>
                        </a:lnTo>
                        <a:lnTo>
                          <a:pt x="114" y="136"/>
                        </a:lnTo>
                        <a:lnTo>
                          <a:pt x="112" y="136"/>
                        </a:lnTo>
                        <a:lnTo>
                          <a:pt x="110" y="136"/>
                        </a:lnTo>
                        <a:lnTo>
                          <a:pt x="107" y="137"/>
                        </a:lnTo>
                        <a:lnTo>
                          <a:pt x="105" y="137"/>
                        </a:lnTo>
                        <a:lnTo>
                          <a:pt x="102" y="137"/>
                        </a:lnTo>
                        <a:lnTo>
                          <a:pt x="101" y="137"/>
                        </a:lnTo>
                        <a:lnTo>
                          <a:pt x="99" y="137"/>
                        </a:lnTo>
                        <a:lnTo>
                          <a:pt x="98" y="137"/>
                        </a:lnTo>
                        <a:lnTo>
                          <a:pt x="97" y="137"/>
                        </a:lnTo>
                        <a:lnTo>
                          <a:pt x="96" y="137"/>
                        </a:lnTo>
                        <a:lnTo>
                          <a:pt x="95" y="137"/>
                        </a:lnTo>
                        <a:lnTo>
                          <a:pt x="94" y="137"/>
                        </a:lnTo>
                        <a:lnTo>
                          <a:pt x="93" y="137"/>
                        </a:lnTo>
                        <a:lnTo>
                          <a:pt x="93" y="137"/>
                        </a:lnTo>
                        <a:lnTo>
                          <a:pt x="92" y="137"/>
                        </a:lnTo>
                        <a:lnTo>
                          <a:pt x="92" y="137"/>
                        </a:lnTo>
                        <a:lnTo>
                          <a:pt x="92" y="138"/>
                        </a:lnTo>
                        <a:lnTo>
                          <a:pt x="92" y="138"/>
                        </a:lnTo>
                        <a:lnTo>
                          <a:pt x="92" y="138"/>
                        </a:lnTo>
                        <a:lnTo>
                          <a:pt x="92" y="139"/>
                        </a:lnTo>
                        <a:lnTo>
                          <a:pt x="90" y="139"/>
                        </a:lnTo>
                        <a:lnTo>
                          <a:pt x="89" y="139"/>
                        </a:lnTo>
                        <a:lnTo>
                          <a:pt x="88" y="139"/>
                        </a:lnTo>
                        <a:lnTo>
                          <a:pt x="87" y="139"/>
                        </a:lnTo>
                        <a:lnTo>
                          <a:pt x="86" y="138"/>
                        </a:lnTo>
                        <a:lnTo>
                          <a:pt x="86" y="138"/>
                        </a:lnTo>
                        <a:lnTo>
                          <a:pt x="84" y="138"/>
                        </a:lnTo>
                        <a:lnTo>
                          <a:pt x="83" y="137"/>
                        </a:lnTo>
                        <a:lnTo>
                          <a:pt x="82" y="137"/>
                        </a:lnTo>
                        <a:lnTo>
                          <a:pt x="81" y="137"/>
                        </a:lnTo>
                        <a:lnTo>
                          <a:pt x="80" y="137"/>
                        </a:lnTo>
                        <a:lnTo>
                          <a:pt x="79" y="137"/>
                        </a:lnTo>
                        <a:lnTo>
                          <a:pt x="78" y="137"/>
                        </a:lnTo>
                        <a:lnTo>
                          <a:pt x="77" y="137"/>
                        </a:lnTo>
                        <a:lnTo>
                          <a:pt x="76" y="137"/>
                        </a:lnTo>
                        <a:lnTo>
                          <a:pt x="76" y="137"/>
                        </a:lnTo>
                        <a:lnTo>
                          <a:pt x="75" y="137"/>
                        </a:lnTo>
                        <a:lnTo>
                          <a:pt x="75" y="137"/>
                        </a:lnTo>
                        <a:lnTo>
                          <a:pt x="75" y="137"/>
                        </a:lnTo>
                        <a:lnTo>
                          <a:pt x="75" y="138"/>
                        </a:lnTo>
                        <a:lnTo>
                          <a:pt x="75" y="138"/>
                        </a:lnTo>
                        <a:lnTo>
                          <a:pt x="75" y="139"/>
                        </a:lnTo>
                        <a:lnTo>
                          <a:pt x="75" y="139"/>
                        </a:lnTo>
                        <a:lnTo>
                          <a:pt x="74" y="139"/>
                        </a:lnTo>
                        <a:lnTo>
                          <a:pt x="74" y="139"/>
                        </a:lnTo>
                        <a:lnTo>
                          <a:pt x="74" y="139"/>
                        </a:lnTo>
                        <a:lnTo>
                          <a:pt x="73" y="139"/>
                        </a:lnTo>
                        <a:lnTo>
                          <a:pt x="73" y="139"/>
                        </a:lnTo>
                        <a:lnTo>
                          <a:pt x="72" y="139"/>
                        </a:lnTo>
                        <a:lnTo>
                          <a:pt x="72" y="139"/>
                        </a:lnTo>
                        <a:lnTo>
                          <a:pt x="72" y="139"/>
                        </a:lnTo>
                        <a:lnTo>
                          <a:pt x="72" y="139"/>
                        </a:lnTo>
                        <a:lnTo>
                          <a:pt x="72" y="140"/>
                        </a:lnTo>
                        <a:lnTo>
                          <a:pt x="72" y="140"/>
                        </a:lnTo>
                        <a:lnTo>
                          <a:pt x="72" y="140"/>
                        </a:lnTo>
                        <a:lnTo>
                          <a:pt x="71" y="140"/>
                        </a:lnTo>
                        <a:lnTo>
                          <a:pt x="71" y="140"/>
                        </a:lnTo>
                        <a:lnTo>
                          <a:pt x="71" y="140"/>
                        </a:lnTo>
                        <a:lnTo>
                          <a:pt x="70" y="140"/>
                        </a:lnTo>
                        <a:lnTo>
                          <a:pt x="70" y="140"/>
                        </a:lnTo>
                        <a:lnTo>
                          <a:pt x="69" y="140"/>
                        </a:lnTo>
                        <a:lnTo>
                          <a:pt x="68" y="140"/>
                        </a:lnTo>
                        <a:lnTo>
                          <a:pt x="67" y="140"/>
                        </a:lnTo>
                        <a:lnTo>
                          <a:pt x="66" y="140"/>
                        </a:lnTo>
                        <a:lnTo>
                          <a:pt x="64" y="140"/>
                        </a:lnTo>
                        <a:lnTo>
                          <a:pt x="61" y="140"/>
                        </a:lnTo>
                        <a:lnTo>
                          <a:pt x="60" y="140"/>
                        </a:lnTo>
                        <a:lnTo>
                          <a:pt x="59" y="140"/>
                        </a:lnTo>
                        <a:lnTo>
                          <a:pt x="58" y="140"/>
                        </a:lnTo>
                        <a:lnTo>
                          <a:pt x="57" y="140"/>
                        </a:lnTo>
                        <a:lnTo>
                          <a:pt x="57" y="140"/>
                        </a:lnTo>
                        <a:lnTo>
                          <a:pt x="56" y="141"/>
                        </a:lnTo>
                        <a:lnTo>
                          <a:pt x="55" y="141"/>
                        </a:lnTo>
                        <a:lnTo>
                          <a:pt x="55" y="142"/>
                        </a:lnTo>
                        <a:lnTo>
                          <a:pt x="55" y="142"/>
                        </a:lnTo>
                        <a:lnTo>
                          <a:pt x="54" y="142"/>
                        </a:lnTo>
                        <a:lnTo>
                          <a:pt x="54" y="142"/>
                        </a:lnTo>
                        <a:lnTo>
                          <a:pt x="53" y="142"/>
                        </a:lnTo>
                        <a:lnTo>
                          <a:pt x="53" y="142"/>
                        </a:lnTo>
                        <a:lnTo>
                          <a:pt x="52" y="142"/>
                        </a:lnTo>
                        <a:lnTo>
                          <a:pt x="52" y="143"/>
                        </a:lnTo>
                        <a:lnTo>
                          <a:pt x="52" y="143"/>
                        </a:lnTo>
                        <a:lnTo>
                          <a:pt x="52" y="143"/>
                        </a:lnTo>
                        <a:lnTo>
                          <a:pt x="52" y="144"/>
                        </a:lnTo>
                        <a:lnTo>
                          <a:pt x="51" y="144"/>
                        </a:lnTo>
                        <a:lnTo>
                          <a:pt x="51" y="143"/>
                        </a:lnTo>
                        <a:lnTo>
                          <a:pt x="50" y="144"/>
                        </a:lnTo>
                        <a:lnTo>
                          <a:pt x="50" y="144"/>
                        </a:lnTo>
                        <a:lnTo>
                          <a:pt x="50" y="144"/>
                        </a:lnTo>
                        <a:lnTo>
                          <a:pt x="50" y="145"/>
                        </a:lnTo>
                        <a:lnTo>
                          <a:pt x="50" y="145"/>
                        </a:lnTo>
                        <a:lnTo>
                          <a:pt x="50" y="145"/>
                        </a:lnTo>
                        <a:lnTo>
                          <a:pt x="49" y="145"/>
                        </a:lnTo>
                        <a:lnTo>
                          <a:pt x="48" y="145"/>
                        </a:lnTo>
                        <a:lnTo>
                          <a:pt x="46" y="145"/>
                        </a:lnTo>
                        <a:lnTo>
                          <a:pt x="45" y="145"/>
                        </a:lnTo>
                        <a:lnTo>
                          <a:pt x="45" y="145"/>
                        </a:lnTo>
                        <a:lnTo>
                          <a:pt x="44" y="144"/>
                        </a:lnTo>
                        <a:lnTo>
                          <a:pt x="44" y="144"/>
                        </a:lnTo>
                        <a:lnTo>
                          <a:pt x="44" y="143"/>
                        </a:lnTo>
                        <a:lnTo>
                          <a:pt x="43" y="143"/>
                        </a:lnTo>
                        <a:lnTo>
                          <a:pt x="43" y="142"/>
                        </a:lnTo>
                        <a:lnTo>
                          <a:pt x="43" y="140"/>
                        </a:lnTo>
                        <a:lnTo>
                          <a:pt x="43" y="139"/>
                        </a:lnTo>
                        <a:lnTo>
                          <a:pt x="43" y="137"/>
                        </a:lnTo>
                        <a:lnTo>
                          <a:pt x="43" y="135"/>
                        </a:lnTo>
                        <a:lnTo>
                          <a:pt x="43" y="134"/>
                        </a:lnTo>
                        <a:lnTo>
                          <a:pt x="42" y="133"/>
                        </a:lnTo>
                        <a:lnTo>
                          <a:pt x="41" y="131"/>
                        </a:lnTo>
                        <a:lnTo>
                          <a:pt x="40" y="130"/>
                        </a:lnTo>
                        <a:lnTo>
                          <a:pt x="40" y="129"/>
                        </a:lnTo>
                        <a:lnTo>
                          <a:pt x="39" y="128"/>
                        </a:lnTo>
                        <a:lnTo>
                          <a:pt x="38" y="126"/>
                        </a:lnTo>
                        <a:lnTo>
                          <a:pt x="38" y="125"/>
                        </a:lnTo>
                        <a:lnTo>
                          <a:pt x="37" y="123"/>
                        </a:lnTo>
                        <a:lnTo>
                          <a:pt x="36" y="120"/>
                        </a:lnTo>
                        <a:lnTo>
                          <a:pt x="35" y="117"/>
                        </a:lnTo>
                        <a:lnTo>
                          <a:pt x="34" y="114"/>
                        </a:lnTo>
                        <a:lnTo>
                          <a:pt x="33" y="111"/>
                        </a:lnTo>
                        <a:lnTo>
                          <a:pt x="33" y="110"/>
                        </a:lnTo>
                        <a:lnTo>
                          <a:pt x="32" y="109"/>
                        </a:lnTo>
                        <a:lnTo>
                          <a:pt x="32" y="108"/>
                        </a:lnTo>
                        <a:lnTo>
                          <a:pt x="31" y="107"/>
                        </a:lnTo>
                        <a:lnTo>
                          <a:pt x="30" y="106"/>
                        </a:lnTo>
                        <a:lnTo>
                          <a:pt x="30" y="106"/>
                        </a:lnTo>
                        <a:lnTo>
                          <a:pt x="29" y="105"/>
                        </a:lnTo>
                        <a:lnTo>
                          <a:pt x="28" y="105"/>
                        </a:lnTo>
                        <a:lnTo>
                          <a:pt x="27" y="104"/>
                        </a:lnTo>
                        <a:lnTo>
                          <a:pt x="26" y="104"/>
                        </a:lnTo>
                        <a:lnTo>
                          <a:pt x="24" y="103"/>
                        </a:lnTo>
                        <a:lnTo>
                          <a:pt x="22" y="103"/>
                        </a:lnTo>
                        <a:lnTo>
                          <a:pt x="20" y="102"/>
                        </a:lnTo>
                        <a:lnTo>
                          <a:pt x="18" y="100"/>
                        </a:lnTo>
                        <a:lnTo>
                          <a:pt x="16" y="98"/>
                        </a:lnTo>
                        <a:lnTo>
                          <a:pt x="13" y="93"/>
                        </a:lnTo>
                        <a:lnTo>
                          <a:pt x="11" y="91"/>
                        </a:lnTo>
                        <a:lnTo>
                          <a:pt x="9" y="89"/>
                        </a:lnTo>
                        <a:lnTo>
                          <a:pt x="7" y="86"/>
                        </a:lnTo>
                        <a:lnTo>
                          <a:pt x="6" y="84"/>
                        </a:lnTo>
                        <a:lnTo>
                          <a:pt x="4" y="81"/>
                        </a:lnTo>
                        <a:lnTo>
                          <a:pt x="4" y="80"/>
                        </a:lnTo>
                        <a:lnTo>
                          <a:pt x="3" y="78"/>
                        </a:lnTo>
                        <a:lnTo>
                          <a:pt x="3" y="77"/>
                        </a:lnTo>
                        <a:lnTo>
                          <a:pt x="2" y="76"/>
                        </a:lnTo>
                        <a:lnTo>
                          <a:pt x="1" y="74"/>
                        </a:lnTo>
                        <a:lnTo>
                          <a:pt x="1" y="72"/>
                        </a:lnTo>
                        <a:lnTo>
                          <a:pt x="1" y="71"/>
                        </a:lnTo>
                        <a:lnTo>
                          <a:pt x="0" y="69"/>
                        </a:lnTo>
                        <a:lnTo>
                          <a:pt x="0" y="67"/>
                        </a:lnTo>
                        <a:lnTo>
                          <a:pt x="0" y="65"/>
                        </a:lnTo>
                        <a:lnTo>
                          <a:pt x="0" y="63"/>
                        </a:lnTo>
                        <a:lnTo>
                          <a:pt x="0" y="61"/>
                        </a:lnTo>
                        <a:lnTo>
                          <a:pt x="0" y="59"/>
                        </a:lnTo>
                        <a:lnTo>
                          <a:pt x="0" y="57"/>
                        </a:lnTo>
                        <a:lnTo>
                          <a:pt x="0" y="55"/>
                        </a:lnTo>
                        <a:lnTo>
                          <a:pt x="0" y="54"/>
                        </a:lnTo>
                        <a:lnTo>
                          <a:pt x="1" y="52"/>
                        </a:lnTo>
                        <a:lnTo>
                          <a:pt x="1" y="51"/>
                        </a:lnTo>
                        <a:lnTo>
                          <a:pt x="1" y="49"/>
                        </a:lnTo>
                        <a:lnTo>
                          <a:pt x="2" y="48"/>
                        </a:lnTo>
                        <a:lnTo>
                          <a:pt x="3" y="47"/>
                        </a:lnTo>
                        <a:lnTo>
                          <a:pt x="3" y="45"/>
                        </a:lnTo>
                        <a:lnTo>
                          <a:pt x="4" y="44"/>
                        </a:lnTo>
                        <a:lnTo>
                          <a:pt x="5" y="43"/>
                        </a:lnTo>
                        <a:lnTo>
                          <a:pt x="6" y="42"/>
                        </a:lnTo>
                        <a:lnTo>
                          <a:pt x="7" y="40"/>
                        </a:lnTo>
                        <a:lnTo>
                          <a:pt x="8" y="39"/>
                        </a:lnTo>
                        <a:lnTo>
                          <a:pt x="9" y="38"/>
                        </a:lnTo>
                        <a:lnTo>
                          <a:pt x="10" y="37"/>
                        </a:lnTo>
                        <a:lnTo>
                          <a:pt x="11" y="36"/>
                        </a:lnTo>
                        <a:lnTo>
                          <a:pt x="12" y="35"/>
                        </a:lnTo>
                        <a:lnTo>
                          <a:pt x="14" y="34"/>
                        </a:lnTo>
                        <a:lnTo>
                          <a:pt x="15" y="33"/>
                        </a:lnTo>
                        <a:lnTo>
                          <a:pt x="16" y="32"/>
                        </a:lnTo>
                        <a:lnTo>
                          <a:pt x="19" y="30"/>
                        </a:lnTo>
                        <a:lnTo>
                          <a:pt x="22" y="29"/>
                        </a:lnTo>
                        <a:lnTo>
                          <a:pt x="25" y="27"/>
                        </a:lnTo>
                        <a:lnTo>
                          <a:pt x="28" y="26"/>
                        </a:lnTo>
                        <a:lnTo>
                          <a:pt x="32" y="25"/>
                        </a:lnTo>
                        <a:lnTo>
                          <a:pt x="35" y="24"/>
                        </a:lnTo>
                        <a:lnTo>
                          <a:pt x="44" y="24"/>
                        </a:lnTo>
                        <a:lnTo>
                          <a:pt x="53" y="24"/>
                        </a:lnTo>
                        <a:lnTo>
                          <a:pt x="62" y="24"/>
                        </a:lnTo>
                        <a:lnTo>
                          <a:pt x="67" y="24"/>
                        </a:lnTo>
                        <a:lnTo>
                          <a:pt x="72" y="24"/>
                        </a:lnTo>
                        <a:lnTo>
                          <a:pt x="72" y="23"/>
                        </a:lnTo>
                        <a:lnTo>
                          <a:pt x="71" y="22"/>
                        </a:lnTo>
                        <a:lnTo>
                          <a:pt x="71" y="21"/>
                        </a:lnTo>
                        <a:lnTo>
                          <a:pt x="71" y="21"/>
                        </a:lnTo>
                        <a:lnTo>
                          <a:pt x="72" y="20"/>
                        </a:lnTo>
                        <a:lnTo>
                          <a:pt x="72" y="19"/>
                        </a:lnTo>
                        <a:lnTo>
                          <a:pt x="72" y="19"/>
                        </a:lnTo>
                        <a:lnTo>
                          <a:pt x="72" y="18"/>
                        </a:lnTo>
                        <a:lnTo>
                          <a:pt x="73" y="17"/>
                        </a:lnTo>
                        <a:lnTo>
                          <a:pt x="73" y="16"/>
                        </a:lnTo>
                        <a:lnTo>
                          <a:pt x="74" y="15"/>
                        </a:lnTo>
                        <a:lnTo>
                          <a:pt x="75" y="14"/>
                        </a:lnTo>
                        <a:lnTo>
                          <a:pt x="75" y="13"/>
                        </a:lnTo>
                        <a:lnTo>
                          <a:pt x="76" y="12"/>
                        </a:lnTo>
                        <a:lnTo>
                          <a:pt x="76" y="11"/>
                        </a:lnTo>
                        <a:lnTo>
                          <a:pt x="76" y="11"/>
                        </a:lnTo>
                        <a:lnTo>
                          <a:pt x="76" y="10"/>
                        </a:lnTo>
                        <a:lnTo>
                          <a:pt x="76" y="10"/>
                        </a:lnTo>
                        <a:lnTo>
                          <a:pt x="76" y="9"/>
                        </a:lnTo>
                        <a:lnTo>
                          <a:pt x="76" y="8"/>
                        </a:lnTo>
                        <a:lnTo>
                          <a:pt x="76" y="8"/>
                        </a:lnTo>
                        <a:lnTo>
                          <a:pt x="76" y="7"/>
                        </a:lnTo>
                        <a:lnTo>
                          <a:pt x="76" y="7"/>
                        </a:lnTo>
                        <a:lnTo>
                          <a:pt x="75" y="6"/>
                        </a:lnTo>
                        <a:lnTo>
                          <a:pt x="75" y="6"/>
                        </a:lnTo>
                        <a:lnTo>
                          <a:pt x="76" y="5"/>
                        </a:lnTo>
                        <a:lnTo>
                          <a:pt x="77" y="4"/>
                        </a:lnTo>
                        <a:lnTo>
                          <a:pt x="78" y="3"/>
                        </a:lnTo>
                        <a:lnTo>
                          <a:pt x="79" y="2"/>
                        </a:lnTo>
                        <a:lnTo>
                          <a:pt x="81" y="2"/>
                        </a:lnTo>
                        <a:lnTo>
                          <a:pt x="82" y="1"/>
                        </a:lnTo>
                        <a:lnTo>
                          <a:pt x="83" y="1"/>
                        </a:lnTo>
                        <a:lnTo>
                          <a:pt x="84" y="0"/>
                        </a:lnTo>
                        <a:lnTo>
                          <a:pt x="85" y="0"/>
                        </a:lnTo>
                        <a:lnTo>
                          <a:pt x="87" y="0"/>
                        </a:lnTo>
                        <a:lnTo>
                          <a:pt x="88" y="0"/>
                        </a:lnTo>
                        <a:lnTo>
                          <a:pt x="89" y="0"/>
                        </a:lnTo>
                        <a:lnTo>
                          <a:pt x="91" y="0"/>
                        </a:lnTo>
                        <a:lnTo>
                          <a:pt x="92" y="0"/>
                        </a:lnTo>
                        <a:lnTo>
                          <a:pt x="93" y="0"/>
                        </a:lnTo>
                        <a:lnTo>
                          <a:pt x="95" y="0"/>
                        </a:lnTo>
                        <a:lnTo>
                          <a:pt x="96" y="0"/>
                        </a:lnTo>
                        <a:lnTo>
                          <a:pt x="98" y="0"/>
                        </a:lnTo>
                        <a:lnTo>
                          <a:pt x="100" y="1"/>
                        </a:lnTo>
                        <a:lnTo>
                          <a:pt x="103" y="1"/>
                        </a:lnTo>
                        <a:lnTo>
                          <a:pt x="106" y="2"/>
                        </a:lnTo>
                        <a:lnTo>
                          <a:pt x="109" y="3"/>
                        </a:lnTo>
                        <a:lnTo>
                          <a:pt x="111" y="4"/>
                        </a:lnTo>
                        <a:lnTo>
                          <a:pt x="114" y="5"/>
                        </a:lnTo>
                        <a:lnTo>
                          <a:pt x="117" y="6"/>
                        </a:lnTo>
                        <a:lnTo>
                          <a:pt x="117" y="5"/>
                        </a:lnTo>
                        <a:lnTo>
                          <a:pt x="118" y="5"/>
                        </a:lnTo>
                        <a:lnTo>
                          <a:pt x="119" y="5"/>
                        </a:lnTo>
                        <a:lnTo>
                          <a:pt x="119" y="5"/>
                        </a:lnTo>
                        <a:lnTo>
                          <a:pt x="120" y="5"/>
                        </a:lnTo>
                        <a:lnTo>
                          <a:pt x="120" y="4"/>
                        </a:lnTo>
                        <a:lnTo>
                          <a:pt x="120" y="4"/>
                        </a:lnTo>
                        <a:lnTo>
                          <a:pt x="121" y="4"/>
                        </a:lnTo>
                        <a:lnTo>
                          <a:pt x="121" y="4"/>
                        </a:lnTo>
                        <a:lnTo>
                          <a:pt x="121" y="4"/>
                        </a:lnTo>
                        <a:lnTo>
                          <a:pt x="122" y="4"/>
                        </a:lnTo>
                        <a:lnTo>
                          <a:pt x="122" y="4"/>
                        </a:lnTo>
                        <a:lnTo>
                          <a:pt x="122" y="4"/>
                        </a:lnTo>
                        <a:lnTo>
                          <a:pt x="122" y="4"/>
                        </a:lnTo>
                        <a:lnTo>
                          <a:pt x="122" y="4"/>
                        </a:lnTo>
                        <a:lnTo>
                          <a:pt x="123" y="4"/>
                        </a:lnTo>
                        <a:lnTo>
                          <a:pt x="123" y="3"/>
                        </a:lnTo>
                        <a:lnTo>
                          <a:pt x="123" y="3"/>
                        </a:lnTo>
                        <a:lnTo>
                          <a:pt x="124" y="3"/>
                        </a:lnTo>
                        <a:lnTo>
                          <a:pt x="124" y="3"/>
                        </a:lnTo>
                        <a:lnTo>
                          <a:pt x="125" y="3"/>
                        </a:lnTo>
                        <a:lnTo>
                          <a:pt x="125" y="3"/>
                        </a:lnTo>
                        <a:lnTo>
                          <a:pt x="125" y="3"/>
                        </a:lnTo>
                        <a:lnTo>
                          <a:pt x="126" y="2"/>
                        </a:lnTo>
                        <a:lnTo>
                          <a:pt x="127" y="2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accent1"/>
                    </a:solidFill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algn="ctr" defTabSz="914308">
                      <a:defRPr/>
                    </a:pPr>
                    <a:endParaRPr lang="en-US" sz="900" kern="0" dirty="0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latin typeface="Times New Roman" pitchFamily="18" charset="0"/>
                      <a:cs typeface="Times New Roman" pitchFamily="18" charset="0"/>
                    </a:endParaRPr>
                  </a:p>
                </p:txBody>
              </p:sp>
              <p:sp>
                <p:nvSpPr>
                  <p:cNvPr id="314" name="Freeform 11"/>
                  <p:cNvSpPr>
                    <a:spLocks/>
                  </p:cNvSpPr>
                  <p:nvPr/>
                </p:nvSpPr>
                <p:spPr bwMode="auto">
                  <a:xfrm>
                    <a:off x="1772860" y="3653644"/>
                    <a:ext cx="1483074" cy="1339653"/>
                  </a:xfrm>
                  <a:custGeom>
                    <a:avLst/>
                    <a:gdLst/>
                    <a:ahLst/>
                    <a:cxnLst>
                      <a:cxn ang="0">
                        <a:pos x="107" y="35"/>
                      </a:cxn>
                      <a:cxn ang="0">
                        <a:pos x="125" y="42"/>
                      </a:cxn>
                      <a:cxn ang="0">
                        <a:pos x="152" y="58"/>
                      </a:cxn>
                      <a:cxn ang="0">
                        <a:pos x="180" y="59"/>
                      </a:cxn>
                      <a:cxn ang="0">
                        <a:pos x="185" y="69"/>
                      </a:cxn>
                      <a:cxn ang="0">
                        <a:pos x="183" y="80"/>
                      </a:cxn>
                      <a:cxn ang="0">
                        <a:pos x="189" y="87"/>
                      </a:cxn>
                      <a:cxn ang="0">
                        <a:pos x="190" y="110"/>
                      </a:cxn>
                      <a:cxn ang="0">
                        <a:pos x="198" y="117"/>
                      </a:cxn>
                      <a:cxn ang="0">
                        <a:pos x="197" y="131"/>
                      </a:cxn>
                      <a:cxn ang="0">
                        <a:pos x="193" y="139"/>
                      </a:cxn>
                      <a:cxn ang="0">
                        <a:pos x="195" y="145"/>
                      </a:cxn>
                      <a:cxn ang="0">
                        <a:pos x="165" y="163"/>
                      </a:cxn>
                      <a:cxn ang="0">
                        <a:pos x="160" y="156"/>
                      </a:cxn>
                      <a:cxn ang="0">
                        <a:pos x="161" y="151"/>
                      </a:cxn>
                      <a:cxn ang="0">
                        <a:pos x="159" y="149"/>
                      </a:cxn>
                      <a:cxn ang="0">
                        <a:pos x="157" y="150"/>
                      </a:cxn>
                      <a:cxn ang="0">
                        <a:pos x="151" y="151"/>
                      </a:cxn>
                      <a:cxn ang="0">
                        <a:pos x="151" y="147"/>
                      </a:cxn>
                      <a:cxn ang="0">
                        <a:pos x="147" y="140"/>
                      </a:cxn>
                      <a:cxn ang="0">
                        <a:pos x="144" y="137"/>
                      </a:cxn>
                      <a:cxn ang="0">
                        <a:pos x="139" y="134"/>
                      </a:cxn>
                      <a:cxn ang="0">
                        <a:pos x="135" y="129"/>
                      </a:cxn>
                      <a:cxn ang="0">
                        <a:pos x="132" y="125"/>
                      </a:cxn>
                      <a:cxn ang="0">
                        <a:pos x="129" y="127"/>
                      </a:cxn>
                      <a:cxn ang="0">
                        <a:pos x="125" y="129"/>
                      </a:cxn>
                      <a:cxn ang="0">
                        <a:pos x="118" y="132"/>
                      </a:cxn>
                      <a:cxn ang="0">
                        <a:pos x="113" y="130"/>
                      </a:cxn>
                      <a:cxn ang="0">
                        <a:pos x="99" y="128"/>
                      </a:cxn>
                      <a:cxn ang="0">
                        <a:pos x="93" y="127"/>
                      </a:cxn>
                      <a:cxn ang="0">
                        <a:pos x="88" y="128"/>
                      </a:cxn>
                      <a:cxn ang="0">
                        <a:pos x="78" y="129"/>
                      </a:cxn>
                      <a:cxn ang="0">
                        <a:pos x="65" y="128"/>
                      </a:cxn>
                      <a:cxn ang="0">
                        <a:pos x="61" y="124"/>
                      </a:cxn>
                      <a:cxn ang="0">
                        <a:pos x="59" y="121"/>
                      </a:cxn>
                      <a:cxn ang="0">
                        <a:pos x="56" y="116"/>
                      </a:cxn>
                      <a:cxn ang="0">
                        <a:pos x="51" y="110"/>
                      </a:cxn>
                      <a:cxn ang="0">
                        <a:pos x="50" y="102"/>
                      </a:cxn>
                      <a:cxn ang="0">
                        <a:pos x="46" y="99"/>
                      </a:cxn>
                      <a:cxn ang="0">
                        <a:pos x="42" y="97"/>
                      </a:cxn>
                      <a:cxn ang="0">
                        <a:pos x="38" y="92"/>
                      </a:cxn>
                      <a:cxn ang="0">
                        <a:pos x="35" y="90"/>
                      </a:cxn>
                      <a:cxn ang="0">
                        <a:pos x="28" y="84"/>
                      </a:cxn>
                      <a:cxn ang="0">
                        <a:pos x="24" y="82"/>
                      </a:cxn>
                      <a:cxn ang="0">
                        <a:pos x="20" y="77"/>
                      </a:cxn>
                      <a:cxn ang="0">
                        <a:pos x="17" y="75"/>
                      </a:cxn>
                      <a:cxn ang="0">
                        <a:pos x="10" y="69"/>
                      </a:cxn>
                      <a:cxn ang="0">
                        <a:pos x="7" y="67"/>
                      </a:cxn>
                      <a:cxn ang="0">
                        <a:pos x="2" y="63"/>
                      </a:cxn>
                      <a:cxn ang="0">
                        <a:pos x="0" y="59"/>
                      </a:cxn>
                      <a:cxn ang="0">
                        <a:pos x="8" y="49"/>
                      </a:cxn>
                      <a:cxn ang="0">
                        <a:pos x="18" y="41"/>
                      </a:cxn>
                      <a:cxn ang="0">
                        <a:pos x="35" y="26"/>
                      </a:cxn>
                      <a:cxn ang="0">
                        <a:pos x="44" y="18"/>
                      </a:cxn>
                      <a:cxn ang="0">
                        <a:pos x="51" y="20"/>
                      </a:cxn>
                      <a:cxn ang="0">
                        <a:pos x="59" y="5"/>
                      </a:cxn>
                      <a:cxn ang="0">
                        <a:pos x="70" y="1"/>
                      </a:cxn>
                      <a:cxn ang="0">
                        <a:pos x="81" y="11"/>
                      </a:cxn>
                      <a:cxn ang="0">
                        <a:pos x="92" y="24"/>
                      </a:cxn>
                    </a:cxnLst>
                    <a:rect l="0" t="0" r="r" b="b"/>
                    <a:pathLst>
                      <a:path w="198" h="167">
                        <a:moveTo>
                          <a:pt x="98" y="25"/>
                        </a:moveTo>
                        <a:lnTo>
                          <a:pt x="99" y="27"/>
                        </a:lnTo>
                        <a:lnTo>
                          <a:pt x="99" y="28"/>
                        </a:lnTo>
                        <a:lnTo>
                          <a:pt x="100" y="30"/>
                        </a:lnTo>
                        <a:lnTo>
                          <a:pt x="101" y="31"/>
                        </a:lnTo>
                        <a:lnTo>
                          <a:pt x="102" y="32"/>
                        </a:lnTo>
                        <a:lnTo>
                          <a:pt x="103" y="33"/>
                        </a:lnTo>
                        <a:lnTo>
                          <a:pt x="104" y="34"/>
                        </a:lnTo>
                        <a:lnTo>
                          <a:pt x="106" y="35"/>
                        </a:lnTo>
                        <a:lnTo>
                          <a:pt x="107" y="35"/>
                        </a:lnTo>
                        <a:lnTo>
                          <a:pt x="109" y="36"/>
                        </a:lnTo>
                        <a:lnTo>
                          <a:pt x="110" y="37"/>
                        </a:lnTo>
                        <a:lnTo>
                          <a:pt x="112" y="37"/>
                        </a:lnTo>
                        <a:lnTo>
                          <a:pt x="114" y="38"/>
                        </a:lnTo>
                        <a:lnTo>
                          <a:pt x="116" y="38"/>
                        </a:lnTo>
                        <a:lnTo>
                          <a:pt x="118" y="38"/>
                        </a:lnTo>
                        <a:lnTo>
                          <a:pt x="120" y="39"/>
                        </a:lnTo>
                        <a:lnTo>
                          <a:pt x="121" y="40"/>
                        </a:lnTo>
                        <a:lnTo>
                          <a:pt x="123" y="41"/>
                        </a:lnTo>
                        <a:lnTo>
                          <a:pt x="125" y="42"/>
                        </a:lnTo>
                        <a:lnTo>
                          <a:pt x="127" y="44"/>
                        </a:lnTo>
                        <a:lnTo>
                          <a:pt x="131" y="46"/>
                        </a:lnTo>
                        <a:lnTo>
                          <a:pt x="134" y="48"/>
                        </a:lnTo>
                        <a:lnTo>
                          <a:pt x="138" y="51"/>
                        </a:lnTo>
                        <a:lnTo>
                          <a:pt x="142" y="53"/>
                        </a:lnTo>
                        <a:lnTo>
                          <a:pt x="144" y="54"/>
                        </a:lnTo>
                        <a:lnTo>
                          <a:pt x="146" y="56"/>
                        </a:lnTo>
                        <a:lnTo>
                          <a:pt x="148" y="57"/>
                        </a:lnTo>
                        <a:lnTo>
                          <a:pt x="149" y="58"/>
                        </a:lnTo>
                        <a:lnTo>
                          <a:pt x="152" y="58"/>
                        </a:lnTo>
                        <a:lnTo>
                          <a:pt x="154" y="58"/>
                        </a:lnTo>
                        <a:lnTo>
                          <a:pt x="157" y="58"/>
                        </a:lnTo>
                        <a:lnTo>
                          <a:pt x="159" y="58"/>
                        </a:lnTo>
                        <a:lnTo>
                          <a:pt x="164" y="58"/>
                        </a:lnTo>
                        <a:lnTo>
                          <a:pt x="169" y="58"/>
                        </a:lnTo>
                        <a:lnTo>
                          <a:pt x="171" y="58"/>
                        </a:lnTo>
                        <a:lnTo>
                          <a:pt x="174" y="58"/>
                        </a:lnTo>
                        <a:lnTo>
                          <a:pt x="176" y="58"/>
                        </a:lnTo>
                        <a:lnTo>
                          <a:pt x="178" y="58"/>
                        </a:lnTo>
                        <a:lnTo>
                          <a:pt x="180" y="59"/>
                        </a:lnTo>
                        <a:lnTo>
                          <a:pt x="182" y="59"/>
                        </a:lnTo>
                        <a:lnTo>
                          <a:pt x="184" y="59"/>
                        </a:lnTo>
                        <a:lnTo>
                          <a:pt x="186" y="60"/>
                        </a:lnTo>
                        <a:lnTo>
                          <a:pt x="186" y="61"/>
                        </a:lnTo>
                        <a:lnTo>
                          <a:pt x="186" y="63"/>
                        </a:lnTo>
                        <a:lnTo>
                          <a:pt x="186" y="64"/>
                        </a:lnTo>
                        <a:lnTo>
                          <a:pt x="186" y="65"/>
                        </a:lnTo>
                        <a:lnTo>
                          <a:pt x="186" y="66"/>
                        </a:lnTo>
                        <a:lnTo>
                          <a:pt x="186" y="67"/>
                        </a:lnTo>
                        <a:lnTo>
                          <a:pt x="185" y="69"/>
                        </a:lnTo>
                        <a:lnTo>
                          <a:pt x="184" y="71"/>
                        </a:lnTo>
                        <a:lnTo>
                          <a:pt x="184" y="73"/>
                        </a:lnTo>
                        <a:lnTo>
                          <a:pt x="183" y="75"/>
                        </a:lnTo>
                        <a:lnTo>
                          <a:pt x="183" y="76"/>
                        </a:lnTo>
                        <a:lnTo>
                          <a:pt x="183" y="77"/>
                        </a:lnTo>
                        <a:lnTo>
                          <a:pt x="183" y="77"/>
                        </a:lnTo>
                        <a:lnTo>
                          <a:pt x="183" y="78"/>
                        </a:lnTo>
                        <a:lnTo>
                          <a:pt x="183" y="79"/>
                        </a:lnTo>
                        <a:lnTo>
                          <a:pt x="183" y="79"/>
                        </a:lnTo>
                        <a:lnTo>
                          <a:pt x="183" y="80"/>
                        </a:lnTo>
                        <a:lnTo>
                          <a:pt x="183" y="81"/>
                        </a:lnTo>
                        <a:lnTo>
                          <a:pt x="184" y="82"/>
                        </a:lnTo>
                        <a:lnTo>
                          <a:pt x="184" y="82"/>
                        </a:lnTo>
                        <a:lnTo>
                          <a:pt x="185" y="83"/>
                        </a:lnTo>
                        <a:lnTo>
                          <a:pt x="185" y="84"/>
                        </a:lnTo>
                        <a:lnTo>
                          <a:pt x="187" y="85"/>
                        </a:lnTo>
                        <a:lnTo>
                          <a:pt x="187" y="85"/>
                        </a:lnTo>
                        <a:lnTo>
                          <a:pt x="188" y="86"/>
                        </a:lnTo>
                        <a:lnTo>
                          <a:pt x="188" y="86"/>
                        </a:lnTo>
                        <a:lnTo>
                          <a:pt x="189" y="87"/>
                        </a:lnTo>
                        <a:lnTo>
                          <a:pt x="189" y="88"/>
                        </a:lnTo>
                        <a:lnTo>
                          <a:pt x="189" y="88"/>
                        </a:lnTo>
                        <a:lnTo>
                          <a:pt x="189" y="93"/>
                        </a:lnTo>
                        <a:lnTo>
                          <a:pt x="189" y="98"/>
                        </a:lnTo>
                        <a:lnTo>
                          <a:pt x="189" y="102"/>
                        </a:lnTo>
                        <a:lnTo>
                          <a:pt x="189" y="107"/>
                        </a:lnTo>
                        <a:lnTo>
                          <a:pt x="190" y="108"/>
                        </a:lnTo>
                        <a:lnTo>
                          <a:pt x="190" y="109"/>
                        </a:lnTo>
                        <a:lnTo>
                          <a:pt x="190" y="110"/>
                        </a:lnTo>
                        <a:lnTo>
                          <a:pt x="190" y="110"/>
                        </a:lnTo>
                        <a:lnTo>
                          <a:pt x="191" y="111"/>
                        </a:lnTo>
                        <a:lnTo>
                          <a:pt x="191" y="112"/>
                        </a:lnTo>
                        <a:lnTo>
                          <a:pt x="192" y="112"/>
                        </a:lnTo>
                        <a:lnTo>
                          <a:pt x="193" y="113"/>
                        </a:lnTo>
                        <a:lnTo>
                          <a:pt x="194" y="113"/>
                        </a:lnTo>
                        <a:lnTo>
                          <a:pt x="195" y="114"/>
                        </a:lnTo>
                        <a:lnTo>
                          <a:pt x="196" y="115"/>
                        </a:lnTo>
                        <a:lnTo>
                          <a:pt x="197" y="115"/>
                        </a:lnTo>
                        <a:lnTo>
                          <a:pt x="197" y="116"/>
                        </a:lnTo>
                        <a:lnTo>
                          <a:pt x="198" y="117"/>
                        </a:lnTo>
                        <a:lnTo>
                          <a:pt x="198" y="118"/>
                        </a:lnTo>
                        <a:lnTo>
                          <a:pt x="198" y="120"/>
                        </a:lnTo>
                        <a:lnTo>
                          <a:pt x="198" y="122"/>
                        </a:lnTo>
                        <a:lnTo>
                          <a:pt x="198" y="123"/>
                        </a:lnTo>
                        <a:lnTo>
                          <a:pt x="198" y="125"/>
                        </a:lnTo>
                        <a:lnTo>
                          <a:pt x="198" y="126"/>
                        </a:lnTo>
                        <a:lnTo>
                          <a:pt x="198" y="127"/>
                        </a:lnTo>
                        <a:lnTo>
                          <a:pt x="198" y="129"/>
                        </a:lnTo>
                        <a:lnTo>
                          <a:pt x="197" y="130"/>
                        </a:lnTo>
                        <a:lnTo>
                          <a:pt x="197" y="131"/>
                        </a:lnTo>
                        <a:lnTo>
                          <a:pt x="196" y="132"/>
                        </a:lnTo>
                        <a:lnTo>
                          <a:pt x="196" y="133"/>
                        </a:lnTo>
                        <a:lnTo>
                          <a:pt x="195" y="134"/>
                        </a:lnTo>
                        <a:lnTo>
                          <a:pt x="195" y="135"/>
                        </a:lnTo>
                        <a:lnTo>
                          <a:pt x="194" y="136"/>
                        </a:lnTo>
                        <a:lnTo>
                          <a:pt x="193" y="137"/>
                        </a:lnTo>
                        <a:lnTo>
                          <a:pt x="193" y="137"/>
                        </a:lnTo>
                        <a:lnTo>
                          <a:pt x="192" y="138"/>
                        </a:lnTo>
                        <a:lnTo>
                          <a:pt x="192" y="139"/>
                        </a:lnTo>
                        <a:lnTo>
                          <a:pt x="193" y="139"/>
                        </a:lnTo>
                        <a:lnTo>
                          <a:pt x="193" y="140"/>
                        </a:lnTo>
                        <a:lnTo>
                          <a:pt x="193" y="140"/>
                        </a:lnTo>
                        <a:lnTo>
                          <a:pt x="193" y="141"/>
                        </a:lnTo>
                        <a:lnTo>
                          <a:pt x="194" y="142"/>
                        </a:lnTo>
                        <a:lnTo>
                          <a:pt x="194" y="142"/>
                        </a:lnTo>
                        <a:lnTo>
                          <a:pt x="194" y="143"/>
                        </a:lnTo>
                        <a:lnTo>
                          <a:pt x="195" y="143"/>
                        </a:lnTo>
                        <a:lnTo>
                          <a:pt x="195" y="144"/>
                        </a:lnTo>
                        <a:lnTo>
                          <a:pt x="195" y="144"/>
                        </a:lnTo>
                        <a:lnTo>
                          <a:pt x="195" y="145"/>
                        </a:lnTo>
                        <a:lnTo>
                          <a:pt x="192" y="146"/>
                        </a:lnTo>
                        <a:lnTo>
                          <a:pt x="190" y="148"/>
                        </a:lnTo>
                        <a:lnTo>
                          <a:pt x="188" y="149"/>
                        </a:lnTo>
                        <a:lnTo>
                          <a:pt x="186" y="150"/>
                        </a:lnTo>
                        <a:lnTo>
                          <a:pt x="182" y="153"/>
                        </a:lnTo>
                        <a:lnTo>
                          <a:pt x="178" y="156"/>
                        </a:lnTo>
                        <a:lnTo>
                          <a:pt x="173" y="158"/>
                        </a:lnTo>
                        <a:lnTo>
                          <a:pt x="169" y="161"/>
                        </a:lnTo>
                        <a:lnTo>
                          <a:pt x="167" y="162"/>
                        </a:lnTo>
                        <a:lnTo>
                          <a:pt x="165" y="163"/>
                        </a:lnTo>
                        <a:lnTo>
                          <a:pt x="163" y="165"/>
                        </a:lnTo>
                        <a:lnTo>
                          <a:pt x="161" y="167"/>
                        </a:lnTo>
                        <a:lnTo>
                          <a:pt x="161" y="167"/>
                        </a:lnTo>
                        <a:lnTo>
                          <a:pt x="160" y="167"/>
                        </a:lnTo>
                        <a:lnTo>
                          <a:pt x="160" y="167"/>
                        </a:lnTo>
                        <a:lnTo>
                          <a:pt x="159" y="167"/>
                        </a:lnTo>
                        <a:lnTo>
                          <a:pt x="159" y="157"/>
                        </a:lnTo>
                        <a:lnTo>
                          <a:pt x="160" y="157"/>
                        </a:lnTo>
                        <a:lnTo>
                          <a:pt x="160" y="156"/>
                        </a:lnTo>
                        <a:lnTo>
                          <a:pt x="160" y="156"/>
                        </a:lnTo>
                        <a:lnTo>
                          <a:pt x="160" y="156"/>
                        </a:lnTo>
                        <a:lnTo>
                          <a:pt x="161" y="156"/>
                        </a:lnTo>
                        <a:lnTo>
                          <a:pt x="161" y="155"/>
                        </a:lnTo>
                        <a:lnTo>
                          <a:pt x="161" y="155"/>
                        </a:lnTo>
                        <a:lnTo>
                          <a:pt x="161" y="154"/>
                        </a:lnTo>
                        <a:lnTo>
                          <a:pt x="161" y="153"/>
                        </a:lnTo>
                        <a:lnTo>
                          <a:pt x="161" y="152"/>
                        </a:lnTo>
                        <a:lnTo>
                          <a:pt x="161" y="152"/>
                        </a:lnTo>
                        <a:lnTo>
                          <a:pt x="161" y="151"/>
                        </a:lnTo>
                        <a:lnTo>
                          <a:pt x="161" y="151"/>
                        </a:lnTo>
                        <a:lnTo>
                          <a:pt x="161" y="150"/>
                        </a:lnTo>
                        <a:lnTo>
                          <a:pt x="161" y="150"/>
                        </a:lnTo>
                        <a:lnTo>
                          <a:pt x="160" y="150"/>
                        </a:lnTo>
                        <a:lnTo>
                          <a:pt x="160" y="150"/>
                        </a:lnTo>
                        <a:lnTo>
                          <a:pt x="160" y="150"/>
                        </a:lnTo>
                        <a:lnTo>
                          <a:pt x="159" y="150"/>
                        </a:lnTo>
                        <a:lnTo>
                          <a:pt x="159" y="150"/>
                        </a:lnTo>
                        <a:lnTo>
                          <a:pt x="159" y="149"/>
                        </a:lnTo>
                        <a:lnTo>
                          <a:pt x="159" y="149"/>
                        </a:lnTo>
                        <a:lnTo>
                          <a:pt x="159" y="149"/>
                        </a:lnTo>
                        <a:lnTo>
                          <a:pt x="159" y="149"/>
                        </a:lnTo>
                        <a:lnTo>
                          <a:pt x="159" y="149"/>
                        </a:lnTo>
                        <a:lnTo>
                          <a:pt x="159" y="149"/>
                        </a:lnTo>
                        <a:lnTo>
                          <a:pt x="158" y="149"/>
                        </a:lnTo>
                        <a:lnTo>
                          <a:pt x="158" y="149"/>
                        </a:lnTo>
                        <a:lnTo>
                          <a:pt x="158" y="149"/>
                        </a:lnTo>
                        <a:lnTo>
                          <a:pt x="158" y="150"/>
                        </a:lnTo>
                        <a:lnTo>
                          <a:pt x="158" y="150"/>
                        </a:lnTo>
                        <a:lnTo>
                          <a:pt x="158" y="150"/>
                        </a:lnTo>
                        <a:lnTo>
                          <a:pt x="157" y="150"/>
                        </a:lnTo>
                        <a:lnTo>
                          <a:pt x="157" y="151"/>
                        </a:lnTo>
                        <a:lnTo>
                          <a:pt x="156" y="151"/>
                        </a:lnTo>
                        <a:lnTo>
                          <a:pt x="155" y="151"/>
                        </a:lnTo>
                        <a:lnTo>
                          <a:pt x="155" y="151"/>
                        </a:lnTo>
                        <a:lnTo>
                          <a:pt x="154" y="152"/>
                        </a:lnTo>
                        <a:lnTo>
                          <a:pt x="153" y="152"/>
                        </a:lnTo>
                        <a:lnTo>
                          <a:pt x="153" y="152"/>
                        </a:lnTo>
                        <a:lnTo>
                          <a:pt x="152" y="152"/>
                        </a:lnTo>
                        <a:lnTo>
                          <a:pt x="152" y="151"/>
                        </a:lnTo>
                        <a:lnTo>
                          <a:pt x="151" y="151"/>
                        </a:lnTo>
                        <a:lnTo>
                          <a:pt x="151" y="151"/>
                        </a:lnTo>
                        <a:lnTo>
                          <a:pt x="151" y="150"/>
                        </a:lnTo>
                        <a:lnTo>
                          <a:pt x="151" y="150"/>
                        </a:lnTo>
                        <a:lnTo>
                          <a:pt x="151" y="150"/>
                        </a:lnTo>
                        <a:lnTo>
                          <a:pt x="151" y="149"/>
                        </a:lnTo>
                        <a:lnTo>
                          <a:pt x="151" y="149"/>
                        </a:lnTo>
                        <a:lnTo>
                          <a:pt x="151" y="148"/>
                        </a:lnTo>
                        <a:lnTo>
                          <a:pt x="151" y="148"/>
                        </a:lnTo>
                        <a:lnTo>
                          <a:pt x="151" y="147"/>
                        </a:lnTo>
                        <a:lnTo>
                          <a:pt x="151" y="147"/>
                        </a:lnTo>
                        <a:lnTo>
                          <a:pt x="151" y="147"/>
                        </a:lnTo>
                        <a:lnTo>
                          <a:pt x="151" y="147"/>
                        </a:lnTo>
                        <a:lnTo>
                          <a:pt x="150" y="147"/>
                        </a:lnTo>
                        <a:lnTo>
                          <a:pt x="149" y="147"/>
                        </a:lnTo>
                        <a:lnTo>
                          <a:pt x="149" y="145"/>
                        </a:lnTo>
                        <a:lnTo>
                          <a:pt x="149" y="144"/>
                        </a:lnTo>
                        <a:lnTo>
                          <a:pt x="149" y="143"/>
                        </a:lnTo>
                        <a:lnTo>
                          <a:pt x="148" y="141"/>
                        </a:lnTo>
                        <a:lnTo>
                          <a:pt x="147" y="140"/>
                        </a:lnTo>
                        <a:lnTo>
                          <a:pt x="147" y="140"/>
                        </a:lnTo>
                        <a:lnTo>
                          <a:pt x="146" y="139"/>
                        </a:lnTo>
                        <a:lnTo>
                          <a:pt x="146" y="139"/>
                        </a:lnTo>
                        <a:lnTo>
                          <a:pt x="145" y="138"/>
                        </a:lnTo>
                        <a:lnTo>
                          <a:pt x="145" y="138"/>
                        </a:lnTo>
                        <a:lnTo>
                          <a:pt x="145" y="138"/>
                        </a:lnTo>
                        <a:lnTo>
                          <a:pt x="145" y="137"/>
                        </a:lnTo>
                        <a:lnTo>
                          <a:pt x="144" y="137"/>
                        </a:lnTo>
                        <a:lnTo>
                          <a:pt x="144" y="137"/>
                        </a:lnTo>
                        <a:lnTo>
                          <a:pt x="144" y="137"/>
                        </a:lnTo>
                        <a:lnTo>
                          <a:pt x="144" y="137"/>
                        </a:lnTo>
                        <a:lnTo>
                          <a:pt x="143" y="137"/>
                        </a:lnTo>
                        <a:lnTo>
                          <a:pt x="142" y="137"/>
                        </a:lnTo>
                        <a:lnTo>
                          <a:pt x="142" y="137"/>
                        </a:lnTo>
                        <a:lnTo>
                          <a:pt x="142" y="137"/>
                        </a:lnTo>
                        <a:lnTo>
                          <a:pt x="141" y="137"/>
                        </a:lnTo>
                        <a:lnTo>
                          <a:pt x="141" y="136"/>
                        </a:lnTo>
                        <a:lnTo>
                          <a:pt x="141" y="135"/>
                        </a:lnTo>
                        <a:lnTo>
                          <a:pt x="140" y="135"/>
                        </a:lnTo>
                        <a:lnTo>
                          <a:pt x="140" y="135"/>
                        </a:lnTo>
                        <a:lnTo>
                          <a:pt x="139" y="134"/>
                        </a:lnTo>
                        <a:lnTo>
                          <a:pt x="139" y="134"/>
                        </a:lnTo>
                        <a:lnTo>
                          <a:pt x="138" y="133"/>
                        </a:lnTo>
                        <a:lnTo>
                          <a:pt x="138" y="133"/>
                        </a:lnTo>
                        <a:lnTo>
                          <a:pt x="138" y="132"/>
                        </a:lnTo>
                        <a:lnTo>
                          <a:pt x="137" y="132"/>
                        </a:lnTo>
                        <a:lnTo>
                          <a:pt x="137" y="131"/>
                        </a:lnTo>
                        <a:lnTo>
                          <a:pt x="136" y="131"/>
                        </a:lnTo>
                        <a:lnTo>
                          <a:pt x="136" y="130"/>
                        </a:lnTo>
                        <a:lnTo>
                          <a:pt x="135" y="130"/>
                        </a:lnTo>
                        <a:lnTo>
                          <a:pt x="135" y="129"/>
                        </a:lnTo>
                        <a:lnTo>
                          <a:pt x="135" y="129"/>
                        </a:lnTo>
                        <a:lnTo>
                          <a:pt x="134" y="128"/>
                        </a:lnTo>
                        <a:lnTo>
                          <a:pt x="134" y="128"/>
                        </a:lnTo>
                        <a:lnTo>
                          <a:pt x="134" y="127"/>
                        </a:lnTo>
                        <a:lnTo>
                          <a:pt x="134" y="127"/>
                        </a:lnTo>
                        <a:lnTo>
                          <a:pt x="134" y="126"/>
                        </a:lnTo>
                        <a:lnTo>
                          <a:pt x="133" y="126"/>
                        </a:lnTo>
                        <a:lnTo>
                          <a:pt x="133" y="125"/>
                        </a:lnTo>
                        <a:lnTo>
                          <a:pt x="133" y="125"/>
                        </a:lnTo>
                        <a:lnTo>
                          <a:pt x="132" y="125"/>
                        </a:lnTo>
                        <a:lnTo>
                          <a:pt x="132" y="125"/>
                        </a:lnTo>
                        <a:lnTo>
                          <a:pt x="131" y="125"/>
                        </a:lnTo>
                        <a:lnTo>
                          <a:pt x="131" y="125"/>
                        </a:lnTo>
                        <a:lnTo>
                          <a:pt x="130" y="125"/>
                        </a:lnTo>
                        <a:lnTo>
                          <a:pt x="130" y="126"/>
                        </a:lnTo>
                        <a:lnTo>
                          <a:pt x="130" y="126"/>
                        </a:lnTo>
                        <a:lnTo>
                          <a:pt x="130" y="126"/>
                        </a:lnTo>
                        <a:lnTo>
                          <a:pt x="130" y="127"/>
                        </a:lnTo>
                        <a:lnTo>
                          <a:pt x="129" y="127"/>
                        </a:lnTo>
                        <a:lnTo>
                          <a:pt x="129" y="127"/>
                        </a:lnTo>
                        <a:lnTo>
                          <a:pt x="128" y="127"/>
                        </a:lnTo>
                        <a:lnTo>
                          <a:pt x="128" y="127"/>
                        </a:lnTo>
                        <a:lnTo>
                          <a:pt x="127" y="128"/>
                        </a:lnTo>
                        <a:lnTo>
                          <a:pt x="127" y="128"/>
                        </a:lnTo>
                        <a:lnTo>
                          <a:pt x="126" y="128"/>
                        </a:lnTo>
                        <a:lnTo>
                          <a:pt x="126" y="128"/>
                        </a:lnTo>
                        <a:lnTo>
                          <a:pt x="125" y="128"/>
                        </a:lnTo>
                        <a:lnTo>
                          <a:pt x="125" y="128"/>
                        </a:lnTo>
                        <a:lnTo>
                          <a:pt x="125" y="128"/>
                        </a:lnTo>
                        <a:lnTo>
                          <a:pt x="125" y="129"/>
                        </a:lnTo>
                        <a:lnTo>
                          <a:pt x="125" y="129"/>
                        </a:lnTo>
                        <a:lnTo>
                          <a:pt x="124" y="129"/>
                        </a:lnTo>
                        <a:lnTo>
                          <a:pt x="124" y="130"/>
                        </a:lnTo>
                        <a:lnTo>
                          <a:pt x="124" y="130"/>
                        </a:lnTo>
                        <a:lnTo>
                          <a:pt x="123" y="131"/>
                        </a:lnTo>
                        <a:lnTo>
                          <a:pt x="122" y="131"/>
                        </a:lnTo>
                        <a:lnTo>
                          <a:pt x="121" y="131"/>
                        </a:lnTo>
                        <a:lnTo>
                          <a:pt x="120" y="132"/>
                        </a:lnTo>
                        <a:lnTo>
                          <a:pt x="119" y="132"/>
                        </a:lnTo>
                        <a:lnTo>
                          <a:pt x="118" y="132"/>
                        </a:lnTo>
                        <a:lnTo>
                          <a:pt x="116" y="132"/>
                        </a:lnTo>
                        <a:lnTo>
                          <a:pt x="116" y="131"/>
                        </a:lnTo>
                        <a:lnTo>
                          <a:pt x="116" y="131"/>
                        </a:lnTo>
                        <a:lnTo>
                          <a:pt x="116" y="131"/>
                        </a:lnTo>
                        <a:lnTo>
                          <a:pt x="115" y="131"/>
                        </a:lnTo>
                        <a:lnTo>
                          <a:pt x="115" y="130"/>
                        </a:lnTo>
                        <a:lnTo>
                          <a:pt x="114" y="130"/>
                        </a:lnTo>
                        <a:lnTo>
                          <a:pt x="114" y="130"/>
                        </a:lnTo>
                        <a:lnTo>
                          <a:pt x="113" y="130"/>
                        </a:lnTo>
                        <a:lnTo>
                          <a:pt x="113" y="130"/>
                        </a:lnTo>
                        <a:lnTo>
                          <a:pt x="110" y="130"/>
                        </a:lnTo>
                        <a:lnTo>
                          <a:pt x="106" y="130"/>
                        </a:lnTo>
                        <a:lnTo>
                          <a:pt x="103" y="130"/>
                        </a:lnTo>
                        <a:lnTo>
                          <a:pt x="100" y="130"/>
                        </a:lnTo>
                        <a:lnTo>
                          <a:pt x="100" y="129"/>
                        </a:lnTo>
                        <a:lnTo>
                          <a:pt x="100" y="129"/>
                        </a:lnTo>
                        <a:lnTo>
                          <a:pt x="99" y="129"/>
                        </a:lnTo>
                        <a:lnTo>
                          <a:pt x="99" y="128"/>
                        </a:lnTo>
                        <a:lnTo>
                          <a:pt x="99" y="128"/>
                        </a:lnTo>
                        <a:lnTo>
                          <a:pt x="99" y="128"/>
                        </a:lnTo>
                        <a:lnTo>
                          <a:pt x="98" y="128"/>
                        </a:lnTo>
                        <a:lnTo>
                          <a:pt x="97" y="128"/>
                        </a:lnTo>
                        <a:lnTo>
                          <a:pt x="97" y="128"/>
                        </a:lnTo>
                        <a:lnTo>
                          <a:pt x="96" y="128"/>
                        </a:lnTo>
                        <a:lnTo>
                          <a:pt x="96" y="128"/>
                        </a:lnTo>
                        <a:lnTo>
                          <a:pt x="95" y="128"/>
                        </a:lnTo>
                        <a:lnTo>
                          <a:pt x="94" y="127"/>
                        </a:lnTo>
                        <a:lnTo>
                          <a:pt x="94" y="127"/>
                        </a:lnTo>
                        <a:lnTo>
                          <a:pt x="93" y="127"/>
                        </a:lnTo>
                        <a:lnTo>
                          <a:pt x="93" y="127"/>
                        </a:lnTo>
                        <a:lnTo>
                          <a:pt x="92" y="127"/>
                        </a:lnTo>
                        <a:lnTo>
                          <a:pt x="92" y="127"/>
                        </a:lnTo>
                        <a:lnTo>
                          <a:pt x="91" y="127"/>
                        </a:lnTo>
                        <a:lnTo>
                          <a:pt x="90" y="127"/>
                        </a:lnTo>
                        <a:lnTo>
                          <a:pt x="90" y="127"/>
                        </a:lnTo>
                        <a:lnTo>
                          <a:pt x="89" y="127"/>
                        </a:lnTo>
                        <a:lnTo>
                          <a:pt x="89" y="127"/>
                        </a:lnTo>
                        <a:lnTo>
                          <a:pt x="89" y="127"/>
                        </a:lnTo>
                        <a:lnTo>
                          <a:pt x="88" y="127"/>
                        </a:lnTo>
                        <a:lnTo>
                          <a:pt x="88" y="128"/>
                        </a:lnTo>
                        <a:lnTo>
                          <a:pt x="88" y="128"/>
                        </a:lnTo>
                        <a:lnTo>
                          <a:pt x="86" y="128"/>
                        </a:lnTo>
                        <a:lnTo>
                          <a:pt x="84" y="128"/>
                        </a:lnTo>
                        <a:lnTo>
                          <a:pt x="82" y="128"/>
                        </a:lnTo>
                        <a:lnTo>
                          <a:pt x="80" y="128"/>
                        </a:lnTo>
                        <a:lnTo>
                          <a:pt x="79" y="128"/>
                        </a:lnTo>
                        <a:lnTo>
                          <a:pt x="79" y="128"/>
                        </a:lnTo>
                        <a:lnTo>
                          <a:pt x="78" y="128"/>
                        </a:lnTo>
                        <a:lnTo>
                          <a:pt x="78" y="128"/>
                        </a:lnTo>
                        <a:lnTo>
                          <a:pt x="78" y="129"/>
                        </a:lnTo>
                        <a:lnTo>
                          <a:pt x="78" y="129"/>
                        </a:lnTo>
                        <a:lnTo>
                          <a:pt x="78" y="129"/>
                        </a:lnTo>
                        <a:lnTo>
                          <a:pt x="78" y="130"/>
                        </a:lnTo>
                        <a:lnTo>
                          <a:pt x="68" y="130"/>
                        </a:lnTo>
                        <a:lnTo>
                          <a:pt x="67" y="130"/>
                        </a:lnTo>
                        <a:lnTo>
                          <a:pt x="67" y="130"/>
                        </a:lnTo>
                        <a:lnTo>
                          <a:pt x="66" y="129"/>
                        </a:lnTo>
                        <a:lnTo>
                          <a:pt x="66" y="129"/>
                        </a:lnTo>
                        <a:lnTo>
                          <a:pt x="65" y="129"/>
                        </a:lnTo>
                        <a:lnTo>
                          <a:pt x="65" y="128"/>
                        </a:lnTo>
                        <a:lnTo>
                          <a:pt x="65" y="128"/>
                        </a:lnTo>
                        <a:lnTo>
                          <a:pt x="65" y="128"/>
                        </a:lnTo>
                        <a:lnTo>
                          <a:pt x="64" y="127"/>
                        </a:lnTo>
                        <a:lnTo>
                          <a:pt x="64" y="127"/>
                        </a:lnTo>
                        <a:lnTo>
                          <a:pt x="63" y="126"/>
                        </a:lnTo>
                        <a:lnTo>
                          <a:pt x="63" y="126"/>
                        </a:lnTo>
                        <a:lnTo>
                          <a:pt x="62" y="125"/>
                        </a:lnTo>
                        <a:lnTo>
                          <a:pt x="62" y="125"/>
                        </a:lnTo>
                        <a:lnTo>
                          <a:pt x="62" y="124"/>
                        </a:lnTo>
                        <a:lnTo>
                          <a:pt x="61" y="124"/>
                        </a:lnTo>
                        <a:lnTo>
                          <a:pt x="61" y="123"/>
                        </a:lnTo>
                        <a:lnTo>
                          <a:pt x="61" y="123"/>
                        </a:lnTo>
                        <a:lnTo>
                          <a:pt x="61" y="122"/>
                        </a:lnTo>
                        <a:lnTo>
                          <a:pt x="61" y="122"/>
                        </a:lnTo>
                        <a:lnTo>
                          <a:pt x="61" y="122"/>
                        </a:lnTo>
                        <a:lnTo>
                          <a:pt x="61" y="122"/>
                        </a:lnTo>
                        <a:lnTo>
                          <a:pt x="60" y="122"/>
                        </a:lnTo>
                        <a:lnTo>
                          <a:pt x="60" y="122"/>
                        </a:lnTo>
                        <a:lnTo>
                          <a:pt x="59" y="121"/>
                        </a:lnTo>
                        <a:lnTo>
                          <a:pt x="59" y="121"/>
                        </a:lnTo>
                        <a:lnTo>
                          <a:pt x="59" y="120"/>
                        </a:lnTo>
                        <a:lnTo>
                          <a:pt x="58" y="120"/>
                        </a:lnTo>
                        <a:lnTo>
                          <a:pt x="58" y="119"/>
                        </a:lnTo>
                        <a:lnTo>
                          <a:pt x="57" y="118"/>
                        </a:lnTo>
                        <a:lnTo>
                          <a:pt x="57" y="118"/>
                        </a:lnTo>
                        <a:lnTo>
                          <a:pt x="56" y="117"/>
                        </a:lnTo>
                        <a:lnTo>
                          <a:pt x="56" y="117"/>
                        </a:lnTo>
                        <a:lnTo>
                          <a:pt x="56" y="117"/>
                        </a:lnTo>
                        <a:lnTo>
                          <a:pt x="56" y="116"/>
                        </a:lnTo>
                        <a:lnTo>
                          <a:pt x="56" y="116"/>
                        </a:lnTo>
                        <a:lnTo>
                          <a:pt x="56" y="115"/>
                        </a:lnTo>
                        <a:lnTo>
                          <a:pt x="56" y="115"/>
                        </a:lnTo>
                        <a:lnTo>
                          <a:pt x="56" y="115"/>
                        </a:lnTo>
                        <a:lnTo>
                          <a:pt x="55" y="115"/>
                        </a:lnTo>
                        <a:lnTo>
                          <a:pt x="55" y="115"/>
                        </a:lnTo>
                        <a:lnTo>
                          <a:pt x="54" y="114"/>
                        </a:lnTo>
                        <a:lnTo>
                          <a:pt x="54" y="114"/>
                        </a:lnTo>
                        <a:lnTo>
                          <a:pt x="53" y="112"/>
                        </a:lnTo>
                        <a:lnTo>
                          <a:pt x="52" y="111"/>
                        </a:lnTo>
                        <a:lnTo>
                          <a:pt x="51" y="110"/>
                        </a:lnTo>
                        <a:lnTo>
                          <a:pt x="51" y="110"/>
                        </a:lnTo>
                        <a:lnTo>
                          <a:pt x="50" y="109"/>
                        </a:lnTo>
                        <a:lnTo>
                          <a:pt x="50" y="108"/>
                        </a:lnTo>
                        <a:lnTo>
                          <a:pt x="50" y="107"/>
                        </a:lnTo>
                        <a:lnTo>
                          <a:pt x="50" y="106"/>
                        </a:lnTo>
                        <a:lnTo>
                          <a:pt x="50" y="105"/>
                        </a:lnTo>
                        <a:lnTo>
                          <a:pt x="50" y="104"/>
                        </a:lnTo>
                        <a:lnTo>
                          <a:pt x="50" y="103"/>
                        </a:lnTo>
                        <a:lnTo>
                          <a:pt x="50" y="103"/>
                        </a:lnTo>
                        <a:lnTo>
                          <a:pt x="50" y="102"/>
                        </a:lnTo>
                        <a:lnTo>
                          <a:pt x="50" y="102"/>
                        </a:lnTo>
                        <a:lnTo>
                          <a:pt x="49" y="102"/>
                        </a:lnTo>
                        <a:lnTo>
                          <a:pt x="49" y="102"/>
                        </a:lnTo>
                        <a:lnTo>
                          <a:pt x="49" y="102"/>
                        </a:lnTo>
                        <a:lnTo>
                          <a:pt x="48" y="102"/>
                        </a:lnTo>
                        <a:lnTo>
                          <a:pt x="48" y="101"/>
                        </a:lnTo>
                        <a:lnTo>
                          <a:pt x="47" y="100"/>
                        </a:lnTo>
                        <a:lnTo>
                          <a:pt x="47" y="100"/>
                        </a:lnTo>
                        <a:lnTo>
                          <a:pt x="47" y="100"/>
                        </a:lnTo>
                        <a:lnTo>
                          <a:pt x="46" y="99"/>
                        </a:lnTo>
                        <a:lnTo>
                          <a:pt x="46" y="99"/>
                        </a:lnTo>
                        <a:lnTo>
                          <a:pt x="45" y="98"/>
                        </a:lnTo>
                        <a:lnTo>
                          <a:pt x="45" y="98"/>
                        </a:lnTo>
                        <a:lnTo>
                          <a:pt x="45" y="97"/>
                        </a:lnTo>
                        <a:lnTo>
                          <a:pt x="44" y="97"/>
                        </a:lnTo>
                        <a:lnTo>
                          <a:pt x="44" y="97"/>
                        </a:lnTo>
                        <a:lnTo>
                          <a:pt x="44" y="97"/>
                        </a:lnTo>
                        <a:lnTo>
                          <a:pt x="44" y="97"/>
                        </a:lnTo>
                        <a:lnTo>
                          <a:pt x="43" y="97"/>
                        </a:lnTo>
                        <a:lnTo>
                          <a:pt x="42" y="97"/>
                        </a:lnTo>
                        <a:lnTo>
                          <a:pt x="42" y="96"/>
                        </a:lnTo>
                        <a:lnTo>
                          <a:pt x="41" y="96"/>
                        </a:lnTo>
                        <a:lnTo>
                          <a:pt x="41" y="96"/>
                        </a:lnTo>
                        <a:lnTo>
                          <a:pt x="41" y="96"/>
                        </a:lnTo>
                        <a:lnTo>
                          <a:pt x="40" y="95"/>
                        </a:lnTo>
                        <a:lnTo>
                          <a:pt x="40" y="94"/>
                        </a:lnTo>
                        <a:lnTo>
                          <a:pt x="39" y="93"/>
                        </a:lnTo>
                        <a:lnTo>
                          <a:pt x="39" y="93"/>
                        </a:lnTo>
                        <a:lnTo>
                          <a:pt x="38" y="93"/>
                        </a:lnTo>
                        <a:lnTo>
                          <a:pt x="38" y="92"/>
                        </a:lnTo>
                        <a:lnTo>
                          <a:pt x="37" y="92"/>
                        </a:lnTo>
                        <a:lnTo>
                          <a:pt x="37" y="92"/>
                        </a:lnTo>
                        <a:lnTo>
                          <a:pt x="36" y="92"/>
                        </a:lnTo>
                        <a:lnTo>
                          <a:pt x="36" y="91"/>
                        </a:lnTo>
                        <a:lnTo>
                          <a:pt x="36" y="91"/>
                        </a:lnTo>
                        <a:lnTo>
                          <a:pt x="36" y="90"/>
                        </a:lnTo>
                        <a:lnTo>
                          <a:pt x="36" y="90"/>
                        </a:lnTo>
                        <a:lnTo>
                          <a:pt x="36" y="90"/>
                        </a:lnTo>
                        <a:lnTo>
                          <a:pt x="35" y="90"/>
                        </a:lnTo>
                        <a:lnTo>
                          <a:pt x="35" y="90"/>
                        </a:lnTo>
                        <a:lnTo>
                          <a:pt x="34" y="90"/>
                        </a:lnTo>
                        <a:lnTo>
                          <a:pt x="33" y="89"/>
                        </a:lnTo>
                        <a:lnTo>
                          <a:pt x="33" y="89"/>
                        </a:lnTo>
                        <a:lnTo>
                          <a:pt x="32" y="89"/>
                        </a:lnTo>
                        <a:lnTo>
                          <a:pt x="31" y="88"/>
                        </a:lnTo>
                        <a:lnTo>
                          <a:pt x="30" y="87"/>
                        </a:lnTo>
                        <a:lnTo>
                          <a:pt x="30" y="86"/>
                        </a:lnTo>
                        <a:lnTo>
                          <a:pt x="29" y="85"/>
                        </a:lnTo>
                        <a:lnTo>
                          <a:pt x="28" y="84"/>
                        </a:lnTo>
                        <a:lnTo>
                          <a:pt x="28" y="84"/>
                        </a:lnTo>
                        <a:lnTo>
                          <a:pt x="27" y="84"/>
                        </a:lnTo>
                        <a:lnTo>
                          <a:pt x="26" y="83"/>
                        </a:lnTo>
                        <a:lnTo>
                          <a:pt x="26" y="83"/>
                        </a:lnTo>
                        <a:lnTo>
                          <a:pt x="26" y="82"/>
                        </a:lnTo>
                        <a:lnTo>
                          <a:pt x="26" y="82"/>
                        </a:lnTo>
                        <a:lnTo>
                          <a:pt x="26" y="82"/>
                        </a:lnTo>
                        <a:lnTo>
                          <a:pt x="26" y="82"/>
                        </a:lnTo>
                        <a:lnTo>
                          <a:pt x="25" y="82"/>
                        </a:lnTo>
                        <a:lnTo>
                          <a:pt x="25" y="82"/>
                        </a:lnTo>
                        <a:lnTo>
                          <a:pt x="24" y="82"/>
                        </a:lnTo>
                        <a:lnTo>
                          <a:pt x="23" y="81"/>
                        </a:lnTo>
                        <a:lnTo>
                          <a:pt x="23" y="81"/>
                        </a:lnTo>
                        <a:lnTo>
                          <a:pt x="23" y="81"/>
                        </a:lnTo>
                        <a:lnTo>
                          <a:pt x="22" y="80"/>
                        </a:lnTo>
                        <a:lnTo>
                          <a:pt x="22" y="80"/>
                        </a:lnTo>
                        <a:lnTo>
                          <a:pt x="21" y="79"/>
                        </a:lnTo>
                        <a:lnTo>
                          <a:pt x="21" y="78"/>
                        </a:lnTo>
                        <a:lnTo>
                          <a:pt x="20" y="78"/>
                        </a:lnTo>
                        <a:lnTo>
                          <a:pt x="20" y="78"/>
                        </a:lnTo>
                        <a:lnTo>
                          <a:pt x="20" y="77"/>
                        </a:lnTo>
                        <a:lnTo>
                          <a:pt x="19" y="77"/>
                        </a:lnTo>
                        <a:lnTo>
                          <a:pt x="19" y="77"/>
                        </a:lnTo>
                        <a:lnTo>
                          <a:pt x="18" y="77"/>
                        </a:lnTo>
                        <a:lnTo>
                          <a:pt x="18" y="76"/>
                        </a:lnTo>
                        <a:lnTo>
                          <a:pt x="18" y="76"/>
                        </a:lnTo>
                        <a:lnTo>
                          <a:pt x="18" y="76"/>
                        </a:lnTo>
                        <a:lnTo>
                          <a:pt x="18" y="75"/>
                        </a:lnTo>
                        <a:lnTo>
                          <a:pt x="17" y="75"/>
                        </a:lnTo>
                        <a:lnTo>
                          <a:pt x="17" y="75"/>
                        </a:lnTo>
                        <a:lnTo>
                          <a:pt x="17" y="75"/>
                        </a:lnTo>
                        <a:lnTo>
                          <a:pt x="16" y="75"/>
                        </a:lnTo>
                        <a:lnTo>
                          <a:pt x="16" y="75"/>
                        </a:lnTo>
                        <a:lnTo>
                          <a:pt x="15" y="75"/>
                        </a:lnTo>
                        <a:lnTo>
                          <a:pt x="14" y="74"/>
                        </a:lnTo>
                        <a:lnTo>
                          <a:pt x="14" y="74"/>
                        </a:lnTo>
                        <a:lnTo>
                          <a:pt x="13" y="73"/>
                        </a:lnTo>
                        <a:lnTo>
                          <a:pt x="12" y="72"/>
                        </a:lnTo>
                        <a:lnTo>
                          <a:pt x="11" y="71"/>
                        </a:lnTo>
                        <a:lnTo>
                          <a:pt x="10" y="70"/>
                        </a:lnTo>
                        <a:lnTo>
                          <a:pt x="10" y="69"/>
                        </a:lnTo>
                        <a:lnTo>
                          <a:pt x="9" y="69"/>
                        </a:lnTo>
                        <a:lnTo>
                          <a:pt x="9" y="69"/>
                        </a:lnTo>
                        <a:lnTo>
                          <a:pt x="8" y="68"/>
                        </a:lnTo>
                        <a:lnTo>
                          <a:pt x="8" y="68"/>
                        </a:lnTo>
                        <a:lnTo>
                          <a:pt x="8" y="68"/>
                        </a:lnTo>
                        <a:lnTo>
                          <a:pt x="8" y="67"/>
                        </a:lnTo>
                        <a:lnTo>
                          <a:pt x="8" y="67"/>
                        </a:lnTo>
                        <a:lnTo>
                          <a:pt x="7" y="67"/>
                        </a:lnTo>
                        <a:lnTo>
                          <a:pt x="7" y="67"/>
                        </a:lnTo>
                        <a:lnTo>
                          <a:pt x="7" y="67"/>
                        </a:lnTo>
                        <a:lnTo>
                          <a:pt x="6" y="67"/>
                        </a:lnTo>
                        <a:lnTo>
                          <a:pt x="6" y="67"/>
                        </a:lnTo>
                        <a:lnTo>
                          <a:pt x="5" y="66"/>
                        </a:lnTo>
                        <a:lnTo>
                          <a:pt x="5" y="66"/>
                        </a:lnTo>
                        <a:lnTo>
                          <a:pt x="4" y="66"/>
                        </a:lnTo>
                        <a:lnTo>
                          <a:pt x="4" y="66"/>
                        </a:lnTo>
                        <a:lnTo>
                          <a:pt x="4" y="65"/>
                        </a:lnTo>
                        <a:lnTo>
                          <a:pt x="3" y="64"/>
                        </a:lnTo>
                        <a:lnTo>
                          <a:pt x="2" y="63"/>
                        </a:lnTo>
                        <a:lnTo>
                          <a:pt x="2" y="63"/>
                        </a:lnTo>
                        <a:lnTo>
                          <a:pt x="2" y="63"/>
                        </a:lnTo>
                        <a:lnTo>
                          <a:pt x="1" y="62"/>
                        </a:lnTo>
                        <a:lnTo>
                          <a:pt x="1" y="62"/>
                        </a:lnTo>
                        <a:lnTo>
                          <a:pt x="0" y="62"/>
                        </a:lnTo>
                        <a:lnTo>
                          <a:pt x="0" y="62"/>
                        </a:lnTo>
                        <a:lnTo>
                          <a:pt x="0" y="61"/>
                        </a:lnTo>
                        <a:lnTo>
                          <a:pt x="0" y="61"/>
                        </a:lnTo>
                        <a:lnTo>
                          <a:pt x="0" y="61"/>
                        </a:lnTo>
                        <a:lnTo>
                          <a:pt x="0" y="60"/>
                        </a:lnTo>
                        <a:lnTo>
                          <a:pt x="0" y="59"/>
                        </a:lnTo>
                        <a:lnTo>
                          <a:pt x="1" y="58"/>
                        </a:lnTo>
                        <a:lnTo>
                          <a:pt x="1" y="56"/>
                        </a:lnTo>
                        <a:lnTo>
                          <a:pt x="2" y="55"/>
                        </a:lnTo>
                        <a:lnTo>
                          <a:pt x="2" y="54"/>
                        </a:lnTo>
                        <a:lnTo>
                          <a:pt x="3" y="53"/>
                        </a:lnTo>
                        <a:lnTo>
                          <a:pt x="4" y="52"/>
                        </a:lnTo>
                        <a:lnTo>
                          <a:pt x="5" y="51"/>
                        </a:lnTo>
                        <a:lnTo>
                          <a:pt x="6" y="51"/>
                        </a:lnTo>
                        <a:lnTo>
                          <a:pt x="7" y="50"/>
                        </a:lnTo>
                        <a:lnTo>
                          <a:pt x="8" y="49"/>
                        </a:lnTo>
                        <a:lnTo>
                          <a:pt x="9" y="49"/>
                        </a:lnTo>
                        <a:lnTo>
                          <a:pt x="10" y="48"/>
                        </a:lnTo>
                        <a:lnTo>
                          <a:pt x="12" y="47"/>
                        </a:lnTo>
                        <a:lnTo>
                          <a:pt x="13" y="47"/>
                        </a:lnTo>
                        <a:lnTo>
                          <a:pt x="15" y="47"/>
                        </a:lnTo>
                        <a:lnTo>
                          <a:pt x="15" y="46"/>
                        </a:lnTo>
                        <a:lnTo>
                          <a:pt x="16" y="44"/>
                        </a:lnTo>
                        <a:lnTo>
                          <a:pt x="16" y="43"/>
                        </a:lnTo>
                        <a:lnTo>
                          <a:pt x="17" y="42"/>
                        </a:lnTo>
                        <a:lnTo>
                          <a:pt x="18" y="41"/>
                        </a:lnTo>
                        <a:lnTo>
                          <a:pt x="19" y="41"/>
                        </a:lnTo>
                        <a:lnTo>
                          <a:pt x="20" y="39"/>
                        </a:lnTo>
                        <a:lnTo>
                          <a:pt x="22" y="37"/>
                        </a:lnTo>
                        <a:lnTo>
                          <a:pt x="24" y="35"/>
                        </a:lnTo>
                        <a:lnTo>
                          <a:pt x="26" y="34"/>
                        </a:lnTo>
                        <a:lnTo>
                          <a:pt x="28" y="32"/>
                        </a:lnTo>
                        <a:lnTo>
                          <a:pt x="30" y="31"/>
                        </a:lnTo>
                        <a:lnTo>
                          <a:pt x="32" y="29"/>
                        </a:lnTo>
                        <a:lnTo>
                          <a:pt x="33" y="28"/>
                        </a:lnTo>
                        <a:lnTo>
                          <a:pt x="35" y="26"/>
                        </a:lnTo>
                        <a:lnTo>
                          <a:pt x="37" y="25"/>
                        </a:lnTo>
                        <a:lnTo>
                          <a:pt x="39" y="23"/>
                        </a:lnTo>
                        <a:lnTo>
                          <a:pt x="39" y="22"/>
                        </a:lnTo>
                        <a:lnTo>
                          <a:pt x="40" y="21"/>
                        </a:lnTo>
                        <a:lnTo>
                          <a:pt x="41" y="20"/>
                        </a:lnTo>
                        <a:lnTo>
                          <a:pt x="41" y="19"/>
                        </a:lnTo>
                        <a:lnTo>
                          <a:pt x="42" y="18"/>
                        </a:lnTo>
                        <a:lnTo>
                          <a:pt x="43" y="18"/>
                        </a:lnTo>
                        <a:lnTo>
                          <a:pt x="44" y="18"/>
                        </a:lnTo>
                        <a:lnTo>
                          <a:pt x="44" y="18"/>
                        </a:lnTo>
                        <a:lnTo>
                          <a:pt x="45" y="19"/>
                        </a:lnTo>
                        <a:lnTo>
                          <a:pt x="45" y="19"/>
                        </a:lnTo>
                        <a:lnTo>
                          <a:pt x="46" y="19"/>
                        </a:lnTo>
                        <a:lnTo>
                          <a:pt x="47" y="20"/>
                        </a:lnTo>
                        <a:lnTo>
                          <a:pt x="48" y="20"/>
                        </a:lnTo>
                        <a:lnTo>
                          <a:pt x="48" y="20"/>
                        </a:lnTo>
                        <a:lnTo>
                          <a:pt x="49" y="20"/>
                        </a:lnTo>
                        <a:lnTo>
                          <a:pt x="50" y="20"/>
                        </a:lnTo>
                        <a:lnTo>
                          <a:pt x="50" y="20"/>
                        </a:lnTo>
                        <a:lnTo>
                          <a:pt x="51" y="20"/>
                        </a:lnTo>
                        <a:lnTo>
                          <a:pt x="52" y="19"/>
                        </a:lnTo>
                        <a:lnTo>
                          <a:pt x="53" y="18"/>
                        </a:lnTo>
                        <a:lnTo>
                          <a:pt x="54" y="17"/>
                        </a:lnTo>
                        <a:lnTo>
                          <a:pt x="55" y="15"/>
                        </a:lnTo>
                        <a:lnTo>
                          <a:pt x="55" y="14"/>
                        </a:lnTo>
                        <a:lnTo>
                          <a:pt x="56" y="12"/>
                        </a:lnTo>
                        <a:lnTo>
                          <a:pt x="57" y="9"/>
                        </a:lnTo>
                        <a:lnTo>
                          <a:pt x="58" y="8"/>
                        </a:lnTo>
                        <a:lnTo>
                          <a:pt x="58" y="7"/>
                        </a:lnTo>
                        <a:lnTo>
                          <a:pt x="59" y="5"/>
                        </a:lnTo>
                        <a:lnTo>
                          <a:pt x="60" y="4"/>
                        </a:lnTo>
                        <a:lnTo>
                          <a:pt x="61" y="3"/>
                        </a:lnTo>
                        <a:lnTo>
                          <a:pt x="62" y="2"/>
                        </a:lnTo>
                        <a:lnTo>
                          <a:pt x="63" y="1"/>
                        </a:lnTo>
                        <a:lnTo>
                          <a:pt x="64" y="1"/>
                        </a:lnTo>
                        <a:lnTo>
                          <a:pt x="65" y="0"/>
                        </a:lnTo>
                        <a:lnTo>
                          <a:pt x="66" y="1"/>
                        </a:lnTo>
                        <a:lnTo>
                          <a:pt x="68" y="1"/>
                        </a:lnTo>
                        <a:lnTo>
                          <a:pt x="69" y="1"/>
                        </a:lnTo>
                        <a:lnTo>
                          <a:pt x="70" y="1"/>
                        </a:lnTo>
                        <a:lnTo>
                          <a:pt x="71" y="2"/>
                        </a:lnTo>
                        <a:lnTo>
                          <a:pt x="73" y="3"/>
                        </a:lnTo>
                        <a:lnTo>
                          <a:pt x="74" y="3"/>
                        </a:lnTo>
                        <a:lnTo>
                          <a:pt x="75" y="4"/>
                        </a:lnTo>
                        <a:lnTo>
                          <a:pt x="76" y="5"/>
                        </a:lnTo>
                        <a:lnTo>
                          <a:pt x="76" y="5"/>
                        </a:lnTo>
                        <a:lnTo>
                          <a:pt x="77" y="6"/>
                        </a:lnTo>
                        <a:lnTo>
                          <a:pt x="78" y="7"/>
                        </a:lnTo>
                        <a:lnTo>
                          <a:pt x="80" y="9"/>
                        </a:lnTo>
                        <a:lnTo>
                          <a:pt x="81" y="11"/>
                        </a:lnTo>
                        <a:lnTo>
                          <a:pt x="82" y="13"/>
                        </a:lnTo>
                        <a:lnTo>
                          <a:pt x="84" y="15"/>
                        </a:lnTo>
                        <a:lnTo>
                          <a:pt x="85" y="17"/>
                        </a:lnTo>
                        <a:lnTo>
                          <a:pt x="87" y="19"/>
                        </a:lnTo>
                        <a:lnTo>
                          <a:pt x="87" y="20"/>
                        </a:lnTo>
                        <a:lnTo>
                          <a:pt x="88" y="21"/>
                        </a:lnTo>
                        <a:lnTo>
                          <a:pt x="89" y="22"/>
                        </a:lnTo>
                        <a:lnTo>
                          <a:pt x="90" y="23"/>
                        </a:lnTo>
                        <a:lnTo>
                          <a:pt x="91" y="23"/>
                        </a:lnTo>
                        <a:lnTo>
                          <a:pt x="92" y="24"/>
                        </a:lnTo>
                        <a:lnTo>
                          <a:pt x="93" y="25"/>
                        </a:lnTo>
                        <a:lnTo>
                          <a:pt x="95" y="25"/>
                        </a:lnTo>
                        <a:lnTo>
                          <a:pt x="95" y="25"/>
                        </a:lnTo>
                        <a:lnTo>
                          <a:pt x="96" y="25"/>
                        </a:lnTo>
                        <a:lnTo>
                          <a:pt x="97" y="25"/>
                        </a:lnTo>
                        <a:lnTo>
                          <a:pt x="98" y="25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accent1"/>
                    </a:solidFill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algn="ctr" defTabSz="914308">
                      <a:defRPr/>
                    </a:pPr>
                    <a:endParaRPr lang="en-US" sz="900" kern="0" dirty="0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latin typeface="Times New Roman" pitchFamily="18" charset="0"/>
                      <a:cs typeface="Times New Roman" pitchFamily="18" charset="0"/>
                    </a:endParaRPr>
                  </a:p>
                </p:txBody>
              </p:sp>
              <p:sp>
                <p:nvSpPr>
                  <p:cNvPr id="315" name="Freeform 12"/>
                  <p:cNvSpPr>
                    <a:spLocks/>
                  </p:cNvSpPr>
                  <p:nvPr/>
                </p:nvSpPr>
                <p:spPr bwMode="auto">
                  <a:xfrm>
                    <a:off x="355629" y="3876163"/>
                    <a:ext cx="1068508" cy="1252736"/>
                  </a:xfrm>
                  <a:custGeom>
                    <a:avLst/>
                    <a:gdLst/>
                    <a:ahLst/>
                    <a:cxnLst>
                      <a:cxn ang="0">
                        <a:pos x="141" y="28"/>
                      </a:cxn>
                      <a:cxn ang="0">
                        <a:pos x="142" y="39"/>
                      </a:cxn>
                      <a:cxn ang="0">
                        <a:pos x="134" y="42"/>
                      </a:cxn>
                      <a:cxn ang="0">
                        <a:pos x="125" y="45"/>
                      </a:cxn>
                      <a:cxn ang="0">
                        <a:pos x="112" y="143"/>
                      </a:cxn>
                      <a:cxn ang="0">
                        <a:pos x="96" y="149"/>
                      </a:cxn>
                      <a:cxn ang="0">
                        <a:pos x="92" y="138"/>
                      </a:cxn>
                      <a:cxn ang="0">
                        <a:pos x="87" y="129"/>
                      </a:cxn>
                      <a:cxn ang="0">
                        <a:pos x="75" y="118"/>
                      </a:cxn>
                      <a:cxn ang="0">
                        <a:pos x="47" y="120"/>
                      </a:cxn>
                      <a:cxn ang="0">
                        <a:pos x="38" y="125"/>
                      </a:cxn>
                      <a:cxn ang="0">
                        <a:pos x="34" y="124"/>
                      </a:cxn>
                      <a:cxn ang="0">
                        <a:pos x="35" y="118"/>
                      </a:cxn>
                      <a:cxn ang="0">
                        <a:pos x="41" y="110"/>
                      </a:cxn>
                      <a:cxn ang="0">
                        <a:pos x="43" y="104"/>
                      </a:cxn>
                      <a:cxn ang="0">
                        <a:pos x="42" y="98"/>
                      </a:cxn>
                      <a:cxn ang="0">
                        <a:pos x="34" y="93"/>
                      </a:cxn>
                      <a:cxn ang="0">
                        <a:pos x="25" y="86"/>
                      </a:cxn>
                      <a:cxn ang="0">
                        <a:pos x="21" y="81"/>
                      </a:cxn>
                      <a:cxn ang="0">
                        <a:pos x="16" y="81"/>
                      </a:cxn>
                      <a:cxn ang="0">
                        <a:pos x="16" y="71"/>
                      </a:cxn>
                      <a:cxn ang="0">
                        <a:pos x="12" y="55"/>
                      </a:cxn>
                      <a:cxn ang="0">
                        <a:pos x="11" y="46"/>
                      </a:cxn>
                      <a:cxn ang="0">
                        <a:pos x="6" y="42"/>
                      </a:cxn>
                      <a:cxn ang="0">
                        <a:pos x="0" y="39"/>
                      </a:cxn>
                      <a:cxn ang="0">
                        <a:pos x="0" y="36"/>
                      </a:cxn>
                      <a:cxn ang="0">
                        <a:pos x="3" y="33"/>
                      </a:cxn>
                      <a:cxn ang="0">
                        <a:pos x="12" y="35"/>
                      </a:cxn>
                      <a:cxn ang="0">
                        <a:pos x="14" y="37"/>
                      </a:cxn>
                      <a:cxn ang="0">
                        <a:pos x="16" y="39"/>
                      </a:cxn>
                      <a:cxn ang="0">
                        <a:pos x="24" y="40"/>
                      </a:cxn>
                      <a:cxn ang="0">
                        <a:pos x="29" y="39"/>
                      </a:cxn>
                      <a:cxn ang="0">
                        <a:pos x="22" y="32"/>
                      </a:cxn>
                      <a:cxn ang="0">
                        <a:pos x="20" y="26"/>
                      </a:cxn>
                      <a:cxn ang="0">
                        <a:pos x="23" y="25"/>
                      </a:cxn>
                      <a:cxn ang="0">
                        <a:pos x="28" y="19"/>
                      </a:cxn>
                      <a:cxn ang="0">
                        <a:pos x="33" y="16"/>
                      </a:cxn>
                      <a:cxn ang="0">
                        <a:pos x="39" y="16"/>
                      </a:cxn>
                      <a:cxn ang="0">
                        <a:pos x="50" y="21"/>
                      </a:cxn>
                      <a:cxn ang="0">
                        <a:pos x="59" y="25"/>
                      </a:cxn>
                      <a:cxn ang="0">
                        <a:pos x="78" y="30"/>
                      </a:cxn>
                      <a:cxn ang="0">
                        <a:pos x="85" y="32"/>
                      </a:cxn>
                      <a:cxn ang="0">
                        <a:pos x="80" y="34"/>
                      </a:cxn>
                      <a:cxn ang="0">
                        <a:pos x="80" y="37"/>
                      </a:cxn>
                      <a:cxn ang="0">
                        <a:pos x="86" y="39"/>
                      </a:cxn>
                      <a:cxn ang="0">
                        <a:pos x="93" y="38"/>
                      </a:cxn>
                      <a:cxn ang="0">
                        <a:pos x="92" y="30"/>
                      </a:cxn>
                      <a:cxn ang="0">
                        <a:pos x="91" y="22"/>
                      </a:cxn>
                      <a:cxn ang="0">
                        <a:pos x="88" y="20"/>
                      </a:cxn>
                      <a:cxn ang="0">
                        <a:pos x="84" y="21"/>
                      </a:cxn>
                      <a:cxn ang="0">
                        <a:pos x="80" y="23"/>
                      </a:cxn>
                      <a:cxn ang="0">
                        <a:pos x="75" y="23"/>
                      </a:cxn>
                      <a:cxn ang="0">
                        <a:pos x="70" y="19"/>
                      </a:cxn>
                      <a:cxn ang="0">
                        <a:pos x="68" y="12"/>
                      </a:cxn>
                      <a:cxn ang="0">
                        <a:pos x="72" y="6"/>
                      </a:cxn>
                      <a:cxn ang="0">
                        <a:pos x="83" y="3"/>
                      </a:cxn>
                      <a:cxn ang="0">
                        <a:pos x="94" y="2"/>
                      </a:cxn>
                      <a:cxn ang="0">
                        <a:pos x="106" y="2"/>
                      </a:cxn>
                      <a:cxn ang="0">
                        <a:pos x="116" y="4"/>
                      </a:cxn>
                      <a:cxn ang="0">
                        <a:pos x="118" y="0"/>
                      </a:cxn>
                      <a:cxn ang="0">
                        <a:pos x="125" y="6"/>
                      </a:cxn>
                      <a:cxn ang="0">
                        <a:pos x="134" y="13"/>
                      </a:cxn>
                    </a:cxnLst>
                    <a:rect l="0" t="0" r="r" b="b"/>
                    <a:pathLst>
                      <a:path w="143" h="156">
                        <a:moveTo>
                          <a:pt x="141" y="15"/>
                        </a:moveTo>
                        <a:lnTo>
                          <a:pt x="141" y="16"/>
                        </a:lnTo>
                        <a:lnTo>
                          <a:pt x="141" y="18"/>
                        </a:lnTo>
                        <a:lnTo>
                          <a:pt x="141" y="20"/>
                        </a:lnTo>
                        <a:lnTo>
                          <a:pt x="141" y="21"/>
                        </a:lnTo>
                        <a:lnTo>
                          <a:pt x="141" y="25"/>
                        </a:lnTo>
                        <a:lnTo>
                          <a:pt x="141" y="28"/>
                        </a:lnTo>
                        <a:lnTo>
                          <a:pt x="141" y="30"/>
                        </a:lnTo>
                        <a:lnTo>
                          <a:pt x="141" y="32"/>
                        </a:lnTo>
                        <a:lnTo>
                          <a:pt x="141" y="33"/>
                        </a:lnTo>
                        <a:lnTo>
                          <a:pt x="141" y="35"/>
                        </a:lnTo>
                        <a:lnTo>
                          <a:pt x="142" y="36"/>
                        </a:lnTo>
                        <a:lnTo>
                          <a:pt x="142" y="38"/>
                        </a:lnTo>
                        <a:lnTo>
                          <a:pt x="142" y="39"/>
                        </a:lnTo>
                        <a:lnTo>
                          <a:pt x="143" y="40"/>
                        </a:lnTo>
                        <a:lnTo>
                          <a:pt x="142" y="40"/>
                        </a:lnTo>
                        <a:lnTo>
                          <a:pt x="141" y="41"/>
                        </a:lnTo>
                        <a:lnTo>
                          <a:pt x="140" y="41"/>
                        </a:lnTo>
                        <a:lnTo>
                          <a:pt x="139" y="41"/>
                        </a:lnTo>
                        <a:lnTo>
                          <a:pt x="136" y="42"/>
                        </a:lnTo>
                        <a:lnTo>
                          <a:pt x="134" y="42"/>
                        </a:lnTo>
                        <a:lnTo>
                          <a:pt x="131" y="43"/>
                        </a:lnTo>
                        <a:lnTo>
                          <a:pt x="130" y="43"/>
                        </a:lnTo>
                        <a:lnTo>
                          <a:pt x="129" y="43"/>
                        </a:lnTo>
                        <a:lnTo>
                          <a:pt x="127" y="43"/>
                        </a:lnTo>
                        <a:lnTo>
                          <a:pt x="126" y="44"/>
                        </a:lnTo>
                        <a:lnTo>
                          <a:pt x="125" y="44"/>
                        </a:lnTo>
                        <a:lnTo>
                          <a:pt x="125" y="45"/>
                        </a:lnTo>
                        <a:lnTo>
                          <a:pt x="123" y="59"/>
                        </a:lnTo>
                        <a:lnTo>
                          <a:pt x="121" y="73"/>
                        </a:lnTo>
                        <a:lnTo>
                          <a:pt x="120" y="87"/>
                        </a:lnTo>
                        <a:lnTo>
                          <a:pt x="118" y="101"/>
                        </a:lnTo>
                        <a:lnTo>
                          <a:pt x="116" y="115"/>
                        </a:lnTo>
                        <a:lnTo>
                          <a:pt x="114" y="129"/>
                        </a:lnTo>
                        <a:lnTo>
                          <a:pt x="112" y="143"/>
                        </a:lnTo>
                        <a:lnTo>
                          <a:pt x="110" y="156"/>
                        </a:lnTo>
                        <a:lnTo>
                          <a:pt x="100" y="156"/>
                        </a:lnTo>
                        <a:lnTo>
                          <a:pt x="99" y="155"/>
                        </a:lnTo>
                        <a:lnTo>
                          <a:pt x="99" y="154"/>
                        </a:lnTo>
                        <a:lnTo>
                          <a:pt x="98" y="152"/>
                        </a:lnTo>
                        <a:lnTo>
                          <a:pt x="97" y="151"/>
                        </a:lnTo>
                        <a:lnTo>
                          <a:pt x="96" y="149"/>
                        </a:lnTo>
                        <a:lnTo>
                          <a:pt x="94" y="146"/>
                        </a:lnTo>
                        <a:lnTo>
                          <a:pt x="94" y="145"/>
                        </a:lnTo>
                        <a:lnTo>
                          <a:pt x="93" y="144"/>
                        </a:lnTo>
                        <a:lnTo>
                          <a:pt x="93" y="143"/>
                        </a:lnTo>
                        <a:lnTo>
                          <a:pt x="92" y="141"/>
                        </a:lnTo>
                        <a:lnTo>
                          <a:pt x="92" y="140"/>
                        </a:lnTo>
                        <a:lnTo>
                          <a:pt x="92" y="138"/>
                        </a:lnTo>
                        <a:lnTo>
                          <a:pt x="91" y="136"/>
                        </a:lnTo>
                        <a:lnTo>
                          <a:pt x="91" y="135"/>
                        </a:lnTo>
                        <a:lnTo>
                          <a:pt x="90" y="133"/>
                        </a:lnTo>
                        <a:lnTo>
                          <a:pt x="90" y="132"/>
                        </a:lnTo>
                        <a:lnTo>
                          <a:pt x="89" y="131"/>
                        </a:lnTo>
                        <a:lnTo>
                          <a:pt x="88" y="130"/>
                        </a:lnTo>
                        <a:lnTo>
                          <a:pt x="87" y="129"/>
                        </a:lnTo>
                        <a:lnTo>
                          <a:pt x="86" y="128"/>
                        </a:lnTo>
                        <a:lnTo>
                          <a:pt x="84" y="126"/>
                        </a:lnTo>
                        <a:lnTo>
                          <a:pt x="81" y="124"/>
                        </a:lnTo>
                        <a:lnTo>
                          <a:pt x="79" y="122"/>
                        </a:lnTo>
                        <a:lnTo>
                          <a:pt x="77" y="120"/>
                        </a:lnTo>
                        <a:lnTo>
                          <a:pt x="76" y="119"/>
                        </a:lnTo>
                        <a:lnTo>
                          <a:pt x="75" y="118"/>
                        </a:lnTo>
                        <a:lnTo>
                          <a:pt x="69" y="118"/>
                        </a:lnTo>
                        <a:lnTo>
                          <a:pt x="63" y="118"/>
                        </a:lnTo>
                        <a:lnTo>
                          <a:pt x="57" y="118"/>
                        </a:lnTo>
                        <a:lnTo>
                          <a:pt x="51" y="118"/>
                        </a:lnTo>
                        <a:lnTo>
                          <a:pt x="50" y="119"/>
                        </a:lnTo>
                        <a:lnTo>
                          <a:pt x="49" y="119"/>
                        </a:lnTo>
                        <a:lnTo>
                          <a:pt x="47" y="120"/>
                        </a:lnTo>
                        <a:lnTo>
                          <a:pt x="45" y="121"/>
                        </a:lnTo>
                        <a:lnTo>
                          <a:pt x="43" y="122"/>
                        </a:lnTo>
                        <a:lnTo>
                          <a:pt x="42" y="123"/>
                        </a:lnTo>
                        <a:lnTo>
                          <a:pt x="41" y="123"/>
                        </a:lnTo>
                        <a:lnTo>
                          <a:pt x="40" y="124"/>
                        </a:lnTo>
                        <a:lnTo>
                          <a:pt x="39" y="124"/>
                        </a:lnTo>
                        <a:lnTo>
                          <a:pt x="38" y="125"/>
                        </a:lnTo>
                        <a:lnTo>
                          <a:pt x="37" y="126"/>
                        </a:lnTo>
                        <a:lnTo>
                          <a:pt x="37" y="127"/>
                        </a:lnTo>
                        <a:lnTo>
                          <a:pt x="36" y="128"/>
                        </a:lnTo>
                        <a:lnTo>
                          <a:pt x="36" y="127"/>
                        </a:lnTo>
                        <a:lnTo>
                          <a:pt x="35" y="126"/>
                        </a:lnTo>
                        <a:lnTo>
                          <a:pt x="35" y="125"/>
                        </a:lnTo>
                        <a:lnTo>
                          <a:pt x="34" y="124"/>
                        </a:lnTo>
                        <a:lnTo>
                          <a:pt x="34" y="123"/>
                        </a:lnTo>
                        <a:lnTo>
                          <a:pt x="34" y="122"/>
                        </a:lnTo>
                        <a:lnTo>
                          <a:pt x="34" y="121"/>
                        </a:lnTo>
                        <a:lnTo>
                          <a:pt x="34" y="120"/>
                        </a:lnTo>
                        <a:lnTo>
                          <a:pt x="35" y="120"/>
                        </a:lnTo>
                        <a:lnTo>
                          <a:pt x="35" y="119"/>
                        </a:lnTo>
                        <a:lnTo>
                          <a:pt x="35" y="118"/>
                        </a:lnTo>
                        <a:lnTo>
                          <a:pt x="36" y="117"/>
                        </a:lnTo>
                        <a:lnTo>
                          <a:pt x="36" y="117"/>
                        </a:lnTo>
                        <a:lnTo>
                          <a:pt x="36" y="116"/>
                        </a:lnTo>
                        <a:lnTo>
                          <a:pt x="37" y="114"/>
                        </a:lnTo>
                        <a:lnTo>
                          <a:pt x="38" y="113"/>
                        </a:lnTo>
                        <a:lnTo>
                          <a:pt x="40" y="112"/>
                        </a:lnTo>
                        <a:lnTo>
                          <a:pt x="41" y="110"/>
                        </a:lnTo>
                        <a:lnTo>
                          <a:pt x="41" y="110"/>
                        </a:lnTo>
                        <a:lnTo>
                          <a:pt x="42" y="109"/>
                        </a:lnTo>
                        <a:lnTo>
                          <a:pt x="42" y="108"/>
                        </a:lnTo>
                        <a:lnTo>
                          <a:pt x="42" y="107"/>
                        </a:lnTo>
                        <a:lnTo>
                          <a:pt x="43" y="106"/>
                        </a:lnTo>
                        <a:lnTo>
                          <a:pt x="43" y="105"/>
                        </a:lnTo>
                        <a:lnTo>
                          <a:pt x="43" y="104"/>
                        </a:lnTo>
                        <a:lnTo>
                          <a:pt x="43" y="104"/>
                        </a:lnTo>
                        <a:lnTo>
                          <a:pt x="43" y="102"/>
                        </a:lnTo>
                        <a:lnTo>
                          <a:pt x="43" y="101"/>
                        </a:lnTo>
                        <a:lnTo>
                          <a:pt x="43" y="101"/>
                        </a:lnTo>
                        <a:lnTo>
                          <a:pt x="43" y="100"/>
                        </a:lnTo>
                        <a:lnTo>
                          <a:pt x="42" y="99"/>
                        </a:lnTo>
                        <a:lnTo>
                          <a:pt x="42" y="98"/>
                        </a:lnTo>
                        <a:lnTo>
                          <a:pt x="41" y="97"/>
                        </a:lnTo>
                        <a:lnTo>
                          <a:pt x="40" y="96"/>
                        </a:lnTo>
                        <a:lnTo>
                          <a:pt x="39" y="95"/>
                        </a:lnTo>
                        <a:lnTo>
                          <a:pt x="38" y="95"/>
                        </a:lnTo>
                        <a:lnTo>
                          <a:pt x="37" y="94"/>
                        </a:lnTo>
                        <a:lnTo>
                          <a:pt x="36" y="94"/>
                        </a:lnTo>
                        <a:lnTo>
                          <a:pt x="34" y="93"/>
                        </a:lnTo>
                        <a:lnTo>
                          <a:pt x="33" y="93"/>
                        </a:lnTo>
                        <a:lnTo>
                          <a:pt x="32" y="93"/>
                        </a:lnTo>
                        <a:lnTo>
                          <a:pt x="29" y="92"/>
                        </a:lnTo>
                        <a:lnTo>
                          <a:pt x="26" y="91"/>
                        </a:lnTo>
                        <a:lnTo>
                          <a:pt x="26" y="89"/>
                        </a:lnTo>
                        <a:lnTo>
                          <a:pt x="25" y="87"/>
                        </a:lnTo>
                        <a:lnTo>
                          <a:pt x="25" y="86"/>
                        </a:lnTo>
                        <a:lnTo>
                          <a:pt x="25" y="85"/>
                        </a:lnTo>
                        <a:lnTo>
                          <a:pt x="25" y="84"/>
                        </a:lnTo>
                        <a:lnTo>
                          <a:pt x="24" y="84"/>
                        </a:lnTo>
                        <a:lnTo>
                          <a:pt x="24" y="83"/>
                        </a:lnTo>
                        <a:lnTo>
                          <a:pt x="23" y="82"/>
                        </a:lnTo>
                        <a:lnTo>
                          <a:pt x="22" y="82"/>
                        </a:lnTo>
                        <a:lnTo>
                          <a:pt x="21" y="81"/>
                        </a:lnTo>
                        <a:lnTo>
                          <a:pt x="20" y="81"/>
                        </a:lnTo>
                        <a:lnTo>
                          <a:pt x="20" y="81"/>
                        </a:lnTo>
                        <a:lnTo>
                          <a:pt x="19" y="81"/>
                        </a:lnTo>
                        <a:lnTo>
                          <a:pt x="19" y="81"/>
                        </a:lnTo>
                        <a:lnTo>
                          <a:pt x="18" y="81"/>
                        </a:lnTo>
                        <a:lnTo>
                          <a:pt x="17" y="81"/>
                        </a:lnTo>
                        <a:lnTo>
                          <a:pt x="16" y="81"/>
                        </a:lnTo>
                        <a:lnTo>
                          <a:pt x="16" y="80"/>
                        </a:lnTo>
                        <a:lnTo>
                          <a:pt x="17" y="79"/>
                        </a:lnTo>
                        <a:lnTo>
                          <a:pt x="17" y="77"/>
                        </a:lnTo>
                        <a:lnTo>
                          <a:pt x="17" y="76"/>
                        </a:lnTo>
                        <a:lnTo>
                          <a:pt x="17" y="75"/>
                        </a:lnTo>
                        <a:lnTo>
                          <a:pt x="17" y="74"/>
                        </a:lnTo>
                        <a:lnTo>
                          <a:pt x="16" y="71"/>
                        </a:lnTo>
                        <a:lnTo>
                          <a:pt x="16" y="69"/>
                        </a:lnTo>
                        <a:lnTo>
                          <a:pt x="15" y="67"/>
                        </a:lnTo>
                        <a:lnTo>
                          <a:pt x="15" y="65"/>
                        </a:lnTo>
                        <a:lnTo>
                          <a:pt x="14" y="63"/>
                        </a:lnTo>
                        <a:lnTo>
                          <a:pt x="13" y="60"/>
                        </a:lnTo>
                        <a:lnTo>
                          <a:pt x="13" y="58"/>
                        </a:lnTo>
                        <a:lnTo>
                          <a:pt x="12" y="55"/>
                        </a:lnTo>
                        <a:lnTo>
                          <a:pt x="12" y="53"/>
                        </a:lnTo>
                        <a:lnTo>
                          <a:pt x="11" y="51"/>
                        </a:lnTo>
                        <a:lnTo>
                          <a:pt x="11" y="49"/>
                        </a:lnTo>
                        <a:lnTo>
                          <a:pt x="11" y="48"/>
                        </a:lnTo>
                        <a:lnTo>
                          <a:pt x="11" y="47"/>
                        </a:lnTo>
                        <a:lnTo>
                          <a:pt x="11" y="46"/>
                        </a:lnTo>
                        <a:lnTo>
                          <a:pt x="11" y="46"/>
                        </a:lnTo>
                        <a:lnTo>
                          <a:pt x="11" y="45"/>
                        </a:lnTo>
                        <a:lnTo>
                          <a:pt x="10" y="45"/>
                        </a:lnTo>
                        <a:lnTo>
                          <a:pt x="10" y="44"/>
                        </a:lnTo>
                        <a:lnTo>
                          <a:pt x="9" y="43"/>
                        </a:lnTo>
                        <a:lnTo>
                          <a:pt x="8" y="43"/>
                        </a:lnTo>
                        <a:lnTo>
                          <a:pt x="7" y="42"/>
                        </a:lnTo>
                        <a:lnTo>
                          <a:pt x="6" y="42"/>
                        </a:lnTo>
                        <a:lnTo>
                          <a:pt x="5" y="42"/>
                        </a:lnTo>
                        <a:lnTo>
                          <a:pt x="4" y="41"/>
                        </a:lnTo>
                        <a:lnTo>
                          <a:pt x="3" y="41"/>
                        </a:lnTo>
                        <a:lnTo>
                          <a:pt x="2" y="41"/>
                        </a:lnTo>
                        <a:lnTo>
                          <a:pt x="1" y="40"/>
                        </a:lnTo>
                        <a:lnTo>
                          <a:pt x="1" y="39"/>
                        </a:lnTo>
                        <a:lnTo>
                          <a:pt x="0" y="39"/>
                        </a:lnTo>
                        <a:lnTo>
                          <a:pt x="0" y="39"/>
                        </a:lnTo>
                        <a:lnTo>
                          <a:pt x="0" y="38"/>
                        </a:lnTo>
                        <a:lnTo>
                          <a:pt x="0" y="38"/>
                        </a:lnTo>
                        <a:lnTo>
                          <a:pt x="0" y="37"/>
                        </a:lnTo>
                        <a:lnTo>
                          <a:pt x="0" y="37"/>
                        </a:lnTo>
                        <a:lnTo>
                          <a:pt x="0" y="36"/>
                        </a:lnTo>
                        <a:lnTo>
                          <a:pt x="0" y="36"/>
                        </a:lnTo>
                        <a:lnTo>
                          <a:pt x="0" y="35"/>
                        </a:lnTo>
                        <a:lnTo>
                          <a:pt x="1" y="35"/>
                        </a:lnTo>
                        <a:lnTo>
                          <a:pt x="1" y="34"/>
                        </a:lnTo>
                        <a:lnTo>
                          <a:pt x="1" y="34"/>
                        </a:lnTo>
                        <a:lnTo>
                          <a:pt x="2" y="34"/>
                        </a:lnTo>
                        <a:lnTo>
                          <a:pt x="3" y="34"/>
                        </a:lnTo>
                        <a:lnTo>
                          <a:pt x="3" y="33"/>
                        </a:lnTo>
                        <a:lnTo>
                          <a:pt x="4" y="33"/>
                        </a:lnTo>
                        <a:lnTo>
                          <a:pt x="5" y="33"/>
                        </a:lnTo>
                        <a:lnTo>
                          <a:pt x="6" y="34"/>
                        </a:lnTo>
                        <a:lnTo>
                          <a:pt x="7" y="34"/>
                        </a:lnTo>
                        <a:lnTo>
                          <a:pt x="9" y="34"/>
                        </a:lnTo>
                        <a:lnTo>
                          <a:pt x="11" y="35"/>
                        </a:lnTo>
                        <a:lnTo>
                          <a:pt x="12" y="35"/>
                        </a:lnTo>
                        <a:lnTo>
                          <a:pt x="13" y="35"/>
                        </a:lnTo>
                        <a:lnTo>
                          <a:pt x="13" y="35"/>
                        </a:lnTo>
                        <a:lnTo>
                          <a:pt x="13" y="36"/>
                        </a:lnTo>
                        <a:lnTo>
                          <a:pt x="13" y="36"/>
                        </a:lnTo>
                        <a:lnTo>
                          <a:pt x="14" y="36"/>
                        </a:lnTo>
                        <a:lnTo>
                          <a:pt x="14" y="36"/>
                        </a:lnTo>
                        <a:lnTo>
                          <a:pt x="14" y="37"/>
                        </a:lnTo>
                        <a:lnTo>
                          <a:pt x="15" y="37"/>
                        </a:lnTo>
                        <a:lnTo>
                          <a:pt x="16" y="37"/>
                        </a:lnTo>
                        <a:lnTo>
                          <a:pt x="16" y="38"/>
                        </a:lnTo>
                        <a:lnTo>
                          <a:pt x="16" y="38"/>
                        </a:lnTo>
                        <a:lnTo>
                          <a:pt x="16" y="38"/>
                        </a:lnTo>
                        <a:lnTo>
                          <a:pt x="16" y="39"/>
                        </a:lnTo>
                        <a:lnTo>
                          <a:pt x="16" y="39"/>
                        </a:lnTo>
                        <a:lnTo>
                          <a:pt x="16" y="40"/>
                        </a:lnTo>
                        <a:lnTo>
                          <a:pt x="17" y="40"/>
                        </a:lnTo>
                        <a:lnTo>
                          <a:pt x="18" y="40"/>
                        </a:lnTo>
                        <a:lnTo>
                          <a:pt x="19" y="40"/>
                        </a:lnTo>
                        <a:lnTo>
                          <a:pt x="20" y="40"/>
                        </a:lnTo>
                        <a:lnTo>
                          <a:pt x="22" y="40"/>
                        </a:lnTo>
                        <a:lnTo>
                          <a:pt x="24" y="40"/>
                        </a:lnTo>
                        <a:lnTo>
                          <a:pt x="25" y="40"/>
                        </a:lnTo>
                        <a:lnTo>
                          <a:pt x="27" y="41"/>
                        </a:lnTo>
                        <a:lnTo>
                          <a:pt x="28" y="41"/>
                        </a:lnTo>
                        <a:lnTo>
                          <a:pt x="30" y="41"/>
                        </a:lnTo>
                        <a:lnTo>
                          <a:pt x="30" y="41"/>
                        </a:lnTo>
                        <a:lnTo>
                          <a:pt x="29" y="40"/>
                        </a:lnTo>
                        <a:lnTo>
                          <a:pt x="29" y="39"/>
                        </a:lnTo>
                        <a:lnTo>
                          <a:pt x="28" y="38"/>
                        </a:lnTo>
                        <a:lnTo>
                          <a:pt x="27" y="37"/>
                        </a:lnTo>
                        <a:lnTo>
                          <a:pt x="27" y="36"/>
                        </a:lnTo>
                        <a:lnTo>
                          <a:pt x="26" y="35"/>
                        </a:lnTo>
                        <a:lnTo>
                          <a:pt x="24" y="34"/>
                        </a:lnTo>
                        <a:lnTo>
                          <a:pt x="23" y="33"/>
                        </a:lnTo>
                        <a:lnTo>
                          <a:pt x="22" y="32"/>
                        </a:lnTo>
                        <a:lnTo>
                          <a:pt x="22" y="31"/>
                        </a:lnTo>
                        <a:lnTo>
                          <a:pt x="21" y="30"/>
                        </a:lnTo>
                        <a:lnTo>
                          <a:pt x="20" y="29"/>
                        </a:lnTo>
                        <a:lnTo>
                          <a:pt x="20" y="28"/>
                        </a:lnTo>
                        <a:lnTo>
                          <a:pt x="20" y="27"/>
                        </a:lnTo>
                        <a:lnTo>
                          <a:pt x="20" y="26"/>
                        </a:lnTo>
                        <a:lnTo>
                          <a:pt x="20" y="26"/>
                        </a:lnTo>
                        <a:lnTo>
                          <a:pt x="20" y="25"/>
                        </a:lnTo>
                        <a:lnTo>
                          <a:pt x="20" y="25"/>
                        </a:lnTo>
                        <a:lnTo>
                          <a:pt x="21" y="25"/>
                        </a:lnTo>
                        <a:lnTo>
                          <a:pt x="22" y="25"/>
                        </a:lnTo>
                        <a:lnTo>
                          <a:pt x="22" y="25"/>
                        </a:lnTo>
                        <a:lnTo>
                          <a:pt x="23" y="25"/>
                        </a:lnTo>
                        <a:lnTo>
                          <a:pt x="23" y="25"/>
                        </a:lnTo>
                        <a:lnTo>
                          <a:pt x="24" y="25"/>
                        </a:lnTo>
                        <a:lnTo>
                          <a:pt x="25" y="24"/>
                        </a:lnTo>
                        <a:lnTo>
                          <a:pt x="26" y="23"/>
                        </a:lnTo>
                        <a:lnTo>
                          <a:pt x="26" y="23"/>
                        </a:lnTo>
                        <a:lnTo>
                          <a:pt x="27" y="22"/>
                        </a:lnTo>
                        <a:lnTo>
                          <a:pt x="28" y="20"/>
                        </a:lnTo>
                        <a:lnTo>
                          <a:pt x="28" y="19"/>
                        </a:lnTo>
                        <a:lnTo>
                          <a:pt x="29" y="19"/>
                        </a:lnTo>
                        <a:lnTo>
                          <a:pt x="29" y="18"/>
                        </a:lnTo>
                        <a:lnTo>
                          <a:pt x="30" y="17"/>
                        </a:lnTo>
                        <a:lnTo>
                          <a:pt x="30" y="17"/>
                        </a:lnTo>
                        <a:lnTo>
                          <a:pt x="31" y="17"/>
                        </a:lnTo>
                        <a:lnTo>
                          <a:pt x="32" y="16"/>
                        </a:lnTo>
                        <a:lnTo>
                          <a:pt x="33" y="16"/>
                        </a:lnTo>
                        <a:lnTo>
                          <a:pt x="34" y="16"/>
                        </a:lnTo>
                        <a:lnTo>
                          <a:pt x="35" y="16"/>
                        </a:lnTo>
                        <a:lnTo>
                          <a:pt x="35" y="16"/>
                        </a:lnTo>
                        <a:lnTo>
                          <a:pt x="36" y="15"/>
                        </a:lnTo>
                        <a:lnTo>
                          <a:pt x="37" y="15"/>
                        </a:lnTo>
                        <a:lnTo>
                          <a:pt x="38" y="16"/>
                        </a:lnTo>
                        <a:lnTo>
                          <a:pt x="39" y="16"/>
                        </a:lnTo>
                        <a:lnTo>
                          <a:pt x="41" y="16"/>
                        </a:lnTo>
                        <a:lnTo>
                          <a:pt x="42" y="17"/>
                        </a:lnTo>
                        <a:lnTo>
                          <a:pt x="43" y="17"/>
                        </a:lnTo>
                        <a:lnTo>
                          <a:pt x="45" y="18"/>
                        </a:lnTo>
                        <a:lnTo>
                          <a:pt x="46" y="19"/>
                        </a:lnTo>
                        <a:lnTo>
                          <a:pt x="49" y="20"/>
                        </a:lnTo>
                        <a:lnTo>
                          <a:pt x="50" y="21"/>
                        </a:lnTo>
                        <a:lnTo>
                          <a:pt x="52" y="22"/>
                        </a:lnTo>
                        <a:lnTo>
                          <a:pt x="53" y="23"/>
                        </a:lnTo>
                        <a:lnTo>
                          <a:pt x="55" y="23"/>
                        </a:lnTo>
                        <a:lnTo>
                          <a:pt x="56" y="24"/>
                        </a:lnTo>
                        <a:lnTo>
                          <a:pt x="57" y="24"/>
                        </a:lnTo>
                        <a:lnTo>
                          <a:pt x="58" y="24"/>
                        </a:lnTo>
                        <a:lnTo>
                          <a:pt x="59" y="25"/>
                        </a:lnTo>
                        <a:lnTo>
                          <a:pt x="62" y="26"/>
                        </a:lnTo>
                        <a:lnTo>
                          <a:pt x="65" y="27"/>
                        </a:lnTo>
                        <a:lnTo>
                          <a:pt x="67" y="27"/>
                        </a:lnTo>
                        <a:lnTo>
                          <a:pt x="70" y="28"/>
                        </a:lnTo>
                        <a:lnTo>
                          <a:pt x="73" y="29"/>
                        </a:lnTo>
                        <a:lnTo>
                          <a:pt x="75" y="29"/>
                        </a:lnTo>
                        <a:lnTo>
                          <a:pt x="78" y="30"/>
                        </a:lnTo>
                        <a:lnTo>
                          <a:pt x="81" y="30"/>
                        </a:lnTo>
                        <a:lnTo>
                          <a:pt x="83" y="30"/>
                        </a:lnTo>
                        <a:lnTo>
                          <a:pt x="86" y="30"/>
                        </a:lnTo>
                        <a:lnTo>
                          <a:pt x="86" y="30"/>
                        </a:lnTo>
                        <a:lnTo>
                          <a:pt x="86" y="31"/>
                        </a:lnTo>
                        <a:lnTo>
                          <a:pt x="85" y="31"/>
                        </a:lnTo>
                        <a:lnTo>
                          <a:pt x="85" y="32"/>
                        </a:lnTo>
                        <a:lnTo>
                          <a:pt x="84" y="32"/>
                        </a:lnTo>
                        <a:lnTo>
                          <a:pt x="84" y="32"/>
                        </a:lnTo>
                        <a:lnTo>
                          <a:pt x="82" y="32"/>
                        </a:lnTo>
                        <a:lnTo>
                          <a:pt x="82" y="32"/>
                        </a:lnTo>
                        <a:lnTo>
                          <a:pt x="81" y="33"/>
                        </a:lnTo>
                        <a:lnTo>
                          <a:pt x="80" y="33"/>
                        </a:lnTo>
                        <a:lnTo>
                          <a:pt x="80" y="34"/>
                        </a:lnTo>
                        <a:lnTo>
                          <a:pt x="80" y="34"/>
                        </a:lnTo>
                        <a:lnTo>
                          <a:pt x="79" y="35"/>
                        </a:lnTo>
                        <a:lnTo>
                          <a:pt x="79" y="35"/>
                        </a:lnTo>
                        <a:lnTo>
                          <a:pt x="79" y="36"/>
                        </a:lnTo>
                        <a:lnTo>
                          <a:pt x="79" y="36"/>
                        </a:lnTo>
                        <a:lnTo>
                          <a:pt x="80" y="37"/>
                        </a:lnTo>
                        <a:lnTo>
                          <a:pt x="80" y="37"/>
                        </a:lnTo>
                        <a:lnTo>
                          <a:pt x="81" y="38"/>
                        </a:lnTo>
                        <a:lnTo>
                          <a:pt x="82" y="38"/>
                        </a:lnTo>
                        <a:lnTo>
                          <a:pt x="82" y="39"/>
                        </a:lnTo>
                        <a:lnTo>
                          <a:pt x="83" y="39"/>
                        </a:lnTo>
                        <a:lnTo>
                          <a:pt x="84" y="39"/>
                        </a:lnTo>
                        <a:lnTo>
                          <a:pt x="85" y="39"/>
                        </a:lnTo>
                        <a:lnTo>
                          <a:pt x="86" y="39"/>
                        </a:lnTo>
                        <a:lnTo>
                          <a:pt x="87" y="39"/>
                        </a:lnTo>
                        <a:lnTo>
                          <a:pt x="88" y="39"/>
                        </a:lnTo>
                        <a:lnTo>
                          <a:pt x="90" y="39"/>
                        </a:lnTo>
                        <a:lnTo>
                          <a:pt x="91" y="39"/>
                        </a:lnTo>
                        <a:lnTo>
                          <a:pt x="91" y="38"/>
                        </a:lnTo>
                        <a:lnTo>
                          <a:pt x="92" y="38"/>
                        </a:lnTo>
                        <a:lnTo>
                          <a:pt x="93" y="38"/>
                        </a:lnTo>
                        <a:lnTo>
                          <a:pt x="93" y="37"/>
                        </a:lnTo>
                        <a:lnTo>
                          <a:pt x="92" y="37"/>
                        </a:lnTo>
                        <a:lnTo>
                          <a:pt x="92" y="35"/>
                        </a:lnTo>
                        <a:lnTo>
                          <a:pt x="92" y="34"/>
                        </a:lnTo>
                        <a:lnTo>
                          <a:pt x="92" y="33"/>
                        </a:lnTo>
                        <a:lnTo>
                          <a:pt x="92" y="31"/>
                        </a:lnTo>
                        <a:lnTo>
                          <a:pt x="92" y="30"/>
                        </a:lnTo>
                        <a:lnTo>
                          <a:pt x="92" y="29"/>
                        </a:lnTo>
                        <a:lnTo>
                          <a:pt x="92" y="28"/>
                        </a:lnTo>
                        <a:lnTo>
                          <a:pt x="92" y="26"/>
                        </a:lnTo>
                        <a:lnTo>
                          <a:pt x="92" y="25"/>
                        </a:lnTo>
                        <a:lnTo>
                          <a:pt x="92" y="24"/>
                        </a:lnTo>
                        <a:lnTo>
                          <a:pt x="92" y="23"/>
                        </a:lnTo>
                        <a:lnTo>
                          <a:pt x="91" y="22"/>
                        </a:lnTo>
                        <a:lnTo>
                          <a:pt x="91" y="21"/>
                        </a:lnTo>
                        <a:lnTo>
                          <a:pt x="91" y="21"/>
                        </a:lnTo>
                        <a:lnTo>
                          <a:pt x="90" y="21"/>
                        </a:lnTo>
                        <a:lnTo>
                          <a:pt x="90" y="20"/>
                        </a:lnTo>
                        <a:lnTo>
                          <a:pt x="90" y="20"/>
                        </a:lnTo>
                        <a:lnTo>
                          <a:pt x="89" y="20"/>
                        </a:lnTo>
                        <a:lnTo>
                          <a:pt x="88" y="20"/>
                        </a:lnTo>
                        <a:lnTo>
                          <a:pt x="88" y="20"/>
                        </a:lnTo>
                        <a:lnTo>
                          <a:pt x="87" y="20"/>
                        </a:lnTo>
                        <a:lnTo>
                          <a:pt x="87" y="20"/>
                        </a:lnTo>
                        <a:lnTo>
                          <a:pt x="86" y="20"/>
                        </a:lnTo>
                        <a:lnTo>
                          <a:pt x="85" y="20"/>
                        </a:lnTo>
                        <a:lnTo>
                          <a:pt x="85" y="21"/>
                        </a:lnTo>
                        <a:lnTo>
                          <a:pt x="84" y="21"/>
                        </a:lnTo>
                        <a:lnTo>
                          <a:pt x="84" y="22"/>
                        </a:lnTo>
                        <a:lnTo>
                          <a:pt x="83" y="22"/>
                        </a:lnTo>
                        <a:lnTo>
                          <a:pt x="83" y="22"/>
                        </a:lnTo>
                        <a:lnTo>
                          <a:pt x="82" y="23"/>
                        </a:lnTo>
                        <a:lnTo>
                          <a:pt x="82" y="23"/>
                        </a:lnTo>
                        <a:lnTo>
                          <a:pt x="81" y="23"/>
                        </a:lnTo>
                        <a:lnTo>
                          <a:pt x="80" y="23"/>
                        </a:lnTo>
                        <a:lnTo>
                          <a:pt x="80" y="23"/>
                        </a:lnTo>
                        <a:lnTo>
                          <a:pt x="79" y="23"/>
                        </a:lnTo>
                        <a:lnTo>
                          <a:pt x="79" y="23"/>
                        </a:lnTo>
                        <a:lnTo>
                          <a:pt x="78" y="23"/>
                        </a:lnTo>
                        <a:lnTo>
                          <a:pt x="77" y="23"/>
                        </a:lnTo>
                        <a:lnTo>
                          <a:pt x="76" y="23"/>
                        </a:lnTo>
                        <a:lnTo>
                          <a:pt x="75" y="23"/>
                        </a:lnTo>
                        <a:lnTo>
                          <a:pt x="75" y="22"/>
                        </a:lnTo>
                        <a:lnTo>
                          <a:pt x="74" y="22"/>
                        </a:lnTo>
                        <a:lnTo>
                          <a:pt x="73" y="22"/>
                        </a:lnTo>
                        <a:lnTo>
                          <a:pt x="73" y="21"/>
                        </a:lnTo>
                        <a:lnTo>
                          <a:pt x="72" y="21"/>
                        </a:lnTo>
                        <a:lnTo>
                          <a:pt x="71" y="20"/>
                        </a:lnTo>
                        <a:lnTo>
                          <a:pt x="70" y="19"/>
                        </a:lnTo>
                        <a:lnTo>
                          <a:pt x="69" y="17"/>
                        </a:lnTo>
                        <a:lnTo>
                          <a:pt x="69" y="17"/>
                        </a:lnTo>
                        <a:lnTo>
                          <a:pt x="68" y="17"/>
                        </a:lnTo>
                        <a:lnTo>
                          <a:pt x="68" y="15"/>
                        </a:lnTo>
                        <a:lnTo>
                          <a:pt x="68" y="14"/>
                        </a:lnTo>
                        <a:lnTo>
                          <a:pt x="68" y="13"/>
                        </a:lnTo>
                        <a:lnTo>
                          <a:pt x="68" y="12"/>
                        </a:lnTo>
                        <a:lnTo>
                          <a:pt x="69" y="11"/>
                        </a:lnTo>
                        <a:lnTo>
                          <a:pt x="69" y="11"/>
                        </a:lnTo>
                        <a:lnTo>
                          <a:pt x="69" y="10"/>
                        </a:lnTo>
                        <a:lnTo>
                          <a:pt x="70" y="9"/>
                        </a:lnTo>
                        <a:lnTo>
                          <a:pt x="71" y="8"/>
                        </a:lnTo>
                        <a:lnTo>
                          <a:pt x="72" y="6"/>
                        </a:lnTo>
                        <a:lnTo>
                          <a:pt x="72" y="6"/>
                        </a:lnTo>
                        <a:lnTo>
                          <a:pt x="72" y="5"/>
                        </a:lnTo>
                        <a:lnTo>
                          <a:pt x="73" y="4"/>
                        </a:lnTo>
                        <a:lnTo>
                          <a:pt x="73" y="3"/>
                        </a:lnTo>
                        <a:lnTo>
                          <a:pt x="78" y="3"/>
                        </a:lnTo>
                        <a:lnTo>
                          <a:pt x="80" y="3"/>
                        </a:lnTo>
                        <a:lnTo>
                          <a:pt x="81" y="3"/>
                        </a:lnTo>
                        <a:lnTo>
                          <a:pt x="83" y="3"/>
                        </a:lnTo>
                        <a:lnTo>
                          <a:pt x="85" y="3"/>
                        </a:lnTo>
                        <a:lnTo>
                          <a:pt x="86" y="3"/>
                        </a:lnTo>
                        <a:lnTo>
                          <a:pt x="88" y="3"/>
                        </a:lnTo>
                        <a:lnTo>
                          <a:pt x="89" y="3"/>
                        </a:lnTo>
                        <a:lnTo>
                          <a:pt x="91" y="3"/>
                        </a:lnTo>
                        <a:lnTo>
                          <a:pt x="92" y="3"/>
                        </a:lnTo>
                        <a:lnTo>
                          <a:pt x="94" y="2"/>
                        </a:lnTo>
                        <a:lnTo>
                          <a:pt x="95" y="2"/>
                        </a:lnTo>
                        <a:lnTo>
                          <a:pt x="96" y="2"/>
                        </a:lnTo>
                        <a:lnTo>
                          <a:pt x="99" y="1"/>
                        </a:lnTo>
                        <a:lnTo>
                          <a:pt x="101" y="0"/>
                        </a:lnTo>
                        <a:lnTo>
                          <a:pt x="103" y="1"/>
                        </a:lnTo>
                        <a:lnTo>
                          <a:pt x="104" y="1"/>
                        </a:lnTo>
                        <a:lnTo>
                          <a:pt x="106" y="2"/>
                        </a:lnTo>
                        <a:lnTo>
                          <a:pt x="108" y="3"/>
                        </a:lnTo>
                        <a:lnTo>
                          <a:pt x="111" y="4"/>
                        </a:lnTo>
                        <a:lnTo>
                          <a:pt x="115" y="5"/>
                        </a:lnTo>
                        <a:lnTo>
                          <a:pt x="115" y="5"/>
                        </a:lnTo>
                        <a:lnTo>
                          <a:pt x="116" y="5"/>
                        </a:lnTo>
                        <a:lnTo>
                          <a:pt x="116" y="5"/>
                        </a:lnTo>
                        <a:lnTo>
                          <a:pt x="116" y="4"/>
                        </a:lnTo>
                        <a:lnTo>
                          <a:pt x="117" y="4"/>
                        </a:lnTo>
                        <a:lnTo>
                          <a:pt x="117" y="3"/>
                        </a:lnTo>
                        <a:lnTo>
                          <a:pt x="117" y="3"/>
                        </a:lnTo>
                        <a:lnTo>
                          <a:pt x="118" y="2"/>
                        </a:lnTo>
                        <a:lnTo>
                          <a:pt x="118" y="1"/>
                        </a:lnTo>
                        <a:lnTo>
                          <a:pt x="118" y="1"/>
                        </a:lnTo>
                        <a:lnTo>
                          <a:pt x="118" y="0"/>
                        </a:lnTo>
                        <a:lnTo>
                          <a:pt x="119" y="0"/>
                        </a:lnTo>
                        <a:lnTo>
                          <a:pt x="119" y="0"/>
                        </a:lnTo>
                        <a:lnTo>
                          <a:pt x="120" y="0"/>
                        </a:lnTo>
                        <a:lnTo>
                          <a:pt x="121" y="1"/>
                        </a:lnTo>
                        <a:lnTo>
                          <a:pt x="122" y="2"/>
                        </a:lnTo>
                        <a:lnTo>
                          <a:pt x="124" y="5"/>
                        </a:lnTo>
                        <a:lnTo>
                          <a:pt x="125" y="6"/>
                        </a:lnTo>
                        <a:lnTo>
                          <a:pt x="126" y="7"/>
                        </a:lnTo>
                        <a:lnTo>
                          <a:pt x="127" y="8"/>
                        </a:lnTo>
                        <a:lnTo>
                          <a:pt x="128" y="10"/>
                        </a:lnTo>
                        <a:lnTo>
                          <a:pt x="129" y="11"/>
                        </a:lnTo>
                        <a:lnTo>
                          <a:pt x="131" y="12"/>
                        </a:lnTo>
                        <a:lnTo>
                          <a:pt x="132" y="12"/>
                        </a:lnTo>
                        <a:lnTo>
                          <a:pt x="134" y="13"/>
                        </a:lnTo>
                        <a:lnTo>
                          <a:pt x="135" y="14"/>
                        </a:lnTo>
                        <a:lnTo>
                          <a:pt x="137" y="14"/>
                        </a:lnTo>
                        <a:lnTo>
                          <a:pt x="138" y="15"/>
                        </a:lnTo>
                        <a:lnTo>
                          <a:pt x="139" y="15"/>
                        </a:lnTo>
                        <a:lnTo>
                          <a:pt x="140" y="15"/>
                        </a:lnTo>
                        <a:lnTo>
                          <a:pt x="141" y="15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accent1"/>
                    </a:solidFill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algn="ctr" defTabSz="914308">
                      <a:defRPr/>
                    </a:pPr>
                    <a:endParaRPr lang="en-US" sz="900" kern="0" dirty="0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latin typeface="Times New Roman" pitchFamily="18" charset="0"/>
                      <a:cs typeface="Times New Roman" pitchFamily="18" charset="0"/>
                    </a:endParaRPr>
                  </a:p>
                </p:txBody>
              </p:sp>
              <p:sp>
                <p:nvSpPr>
                  <p:cNvPr id="316" name="Freeform 13"/>
                  <p:cNvSpPr>
                    <a:spLocks/>
                  </p:cNvSpPr>
                  <p:nvPr/>
                </p:nvSpPr>
                <p:spPr bwMode="auto">
                  <a:xfrm>
                    <a:off x="2955851" y="4122018"/>
                    <a:ext cx="822196" cy="1324537"/>
                  </a:xfrm>
                  <a:custGeom>
                    <a:avLst/>
                    <a:gdLst/>
                    <a:ahLst/>
                    <a:cxnLst>
                      <a:cxn ang="0">
                        <a:pos x="77" y="17"/>
                      </a:cxn>
                      <a:cxn ang="0">
                        <a:pos x="84" y="37"/>
                      </a:cxn>
                      <a:cxn ang="0">
                        <a:pos x="86" y="57"/>
                      </a:cxn>
                      <a:cxn ang="0">
                        <a:pos x="81" y="75"/>
                      </a:cxn>
                      <a:cxn ang="0">
                        <a:pos x="91" y="84"/>
                      </a:cxn>
                      <a:cxn ang="0">
                        <a:pos x="97" y="94"/>
                      </a:cxn>
                      <a:cxn ang="0">
                        <a:pos x="102" y="104"/>
                      </a:cxn>
                      <a:cxn ang="0">
                        <a:pos x="109" y="109"/>
                      </a:cxn>
                      <a:cxn ang="0">
                        <a:pos x="109" y="115"/>
                      </a:cxn>
                      <a:cxn ang="0">
                        <a:pos x="108" y="117"/>
                      </a:cxn>
                      <a:cxn ang="0">
                        <a:pos x="106" y="119"/>
                      </a:cxn>
                      <a:cxn ang="0">
                        <a:pos x="102" y="120"/>
                      </a:cxn>
                      <a:cxn ang="0">
                        <a:pos x="101" y="119"/>
                      </a:cxn>
                      <a:cxn ang="0">
                        <a:pos x="98" y="121"/>
                      </a:cxn>
                      <a:cxn ang="0">
                        <a:pos x="94" y="125"/>
                      </a:cxn>
                      <a:cxn ang="0">
                        <a:pos x="93" y="128"/>
                      </a:cxn>
                      <a:cxn ang="0">
                        <a:pos x="88" y="130"/>
                      </a:cxn>
                      <a:cxn ang="0">
                        <a:pos x="85" y="132"/>
                      </a:cxn>
                      <a:cxn ang="0">
                        <a:pos x="83" y="134"/>
                      </a:cxn>
                      <a:cxn ang="0">
                        <a:pos x="78" y="136"/>
                      </a:cxn>
                      <a:cxn ang="0">
                        <a:pos x="72" y="140"/>
                      </a:cxn>
                      <a:cxn ang="0">
                        <a:pos x="70" y="144"/>
                      </a:cxn>
                      <a:cxn ang="0">
                        <a:pos x="66" y="148"/>
                      </a:cxn>
                      <a:cxn ang="0">
                        <a:pos x="63" y="151"/>
                      </a:cxn>
                      <a:cxn ang="0">
                        <a:pos x="59" y="158"/>
                      </a:cxn>
                      <a:cxn ang="0">
                        <a:pos x="54" y="165"/>
                      </a:cxn>
                      <a:cxn ang="0">
                        <a:pos x="51" y="162"/>
                      </a:cxn>
                      <a:cxn ang="0">
                        <a:pos x="49" y="160"/>
                      </a:cxn>
                      <a:cxn ang="0">
                        <a:pos x="50" y="157"/>
                      </a:cxn>
                      <a:cxn ang="0">
                        <a:pos x="47" y="152"/>
                      </a:cxn>
                      <a:cxn ang="0">
                        <a:pos x="43" y="148"/>
                      </a:cxn>
                      <a:cxn ang="0">
                        <a:pos x="40" y="147"/>
                      </a:cxn>
                      <a:cxn ang="0">
                        <a:pos x="37" y="148"/>
                      </a:cxn>
                      <a:cxn ang="0">
                        <a:pos x="24" y="149"/>
                      </a:cxn>
                      <a:cxn ang="0">
                        <a:pos x="17" y="146"/>
                      </a:cxn>
                      <a:cxn ang="0">
                        <a:pos x="15" y="139"/>
                      </a:cxn>
                      <a:cxn ang="0">
                        <a:pos x="13" y="135"/>
                      </a:cxn>
                      <a:cxn ang="0">
                        <a:pos x="11" y="129"/>
                      </a:cxn>
                      <a:cxn ang="0">
                        <a:pos x="9" y="123"/>
                      </a:cxn>
                      <a:cxn ang="0">
                        <a:pos x="3" y="122"/>
                      </a:cxn>
                      <a:cxn ang="0">
                        <a:pos x="1" y="118"/>
                      </a:cxn>
                      <a:cxn ang="0">
                        <a:pos x="0" y="110"/>
                      </a:cxn>
                      <a:cxn ang="0">
                        <a:pos x="1" y="109"/>
                      </a:cxn>
                      <a:cxn ang="0">
                        <a:pos x="11" y="103"/>
                      </a:cxn>
                      <a:cxn ang="0">
                        <a:pos x="36" y="87"/>
                      </a:cxn>
                      <a:cxn ang="0">
                        <a:pos x="35" y="82"/>
                      </a:cxn>
                      <a:cxn ang="0">
                        <a:pos x="36" y="77"/>
                      </a:cxn>
                      <a:cxn ang="0">
                        <a:pos x="40" y="68"/>
                      </a:cxn>
                      <a:cxn ang="0">
                        <a:pos x="39" y="57"/>
                      </a:cxn>
                      <a:cxn ang="0">
                        <a:pos x="32" y="52"/>
                      </a:cxn>
                      <a:cxn ang="0">
                        <a:pos x="31" y="31"/>
                      </a:cxn>
                      <a:cxn ang="0">
                        <a:pos x="27" y="25"/>
                      </a:cxn>
                      <a:cxn ang="0">
                        <a:pos x="25" y="20"/>
                      </a:cxn>
                      <a:cxn ang="0">
                        <a:pos x="28" y="8"/>
                      </a:cxn>
                      <a:cxn ang="0">
                        <a:pos x="34" y="1"/>
                      </a:cxn>
                      <a:cxn ang="0">
                        <a:pos x="60" y="1"/>
                      </a:cxn>
                      <a:cxn ang="0">
                        <a:pos x="70" y="2"/>
                      </a:cxn>
                    </a:cxnLst>
                    <a:rect l="0" t="0" r="r" b="b"/>
                    <a:pathLst>
                      <a:path w="110" h="165">
                        <a:moveTo>
                          <a:pt x="71" y="4"/>
                        </a:moveTo>
                        <a:lnTo>
                          <a:pt x="72" y="6"/>
                        </a:lnTo>
                        <a:lnTo>
                          <a:pt x="73" y="7"/>
                        </a:lnTo>
                        <a:lnTo>
                          <a:pt x="74" y="9"/>
                        </a:lnTo>
                        <a:lnTo>
                          <a:pt x="75" y="11"/>
                        </a:lnTo>
                        <a:lnTo>
                          <a:pt x="76" y="13"/>
                        </a:lnTo>
                        <a:lnTo>
                          <a:pt x="77" y="15"/>
                        </a:lnTo>
                        <a:lnTo>
                          <a:pt x="77" y="17"/>
                        </a:lnTo>
                        <a:lnTo>
                          <a:pt x="78" y="19"/>
                        </a:lnTo>
                        <a:lnTo>
                          <a:pt x="79" y="21"/>
                        </a:lnTo>
                        <a:lnTo>
                          <a:pt x="80" y="23"/>
                        </a:lnTo>
                        <a:lnTo>
                          <a:pt x="82" y="28"/>
                        </a:lnTo>
                        <a:lnTo>
                          <a:pt x="82" y="30"/>
                        </a:lnTo>
                        <a:lnTo>
                          <a:pt x="83" y="33"/>
                        </a:lnTo>
                        <a:lnTo>
                          <a:pt x="84" y="35"/>
                        </a:lnTo>
                        <a:lnTo>
                          <a:pt x="84" y="37"/>
                        </a:lnTo>
                        <a:lnTo>
                          <a:pt x="85" y="40"/>
                        </a:lnTo>
                        <a:lnTo>
                          <a:pt x="85" y="42"/>
                        </a:lnTo>
                        <a:lnTo>
                          <a:pt x="86" y="45"/>
                        </a:lnTo>
                        <a:lnTo>
                          <a:pt x="86" y="47"/>
                        </a:lnTo>
                        <a:lnTo>
                          <a:pt x="86" y="49"/>
                        </a:lnTo>
                        <a:lnTo>
                          <a:pt x="86" y="52"/>
                        </a:lnTo>
                        <a:lnTo>
                          <a:pt x="86" y="54"/>
                        </a:lnTo>
                        <a:lnTo>
                          <a:pt x="86" y="57"/>
                        </a:lnTo>
                        <a:lnTo>
                          <a:pt x="86" y="59"/>
                        </a:lnTo>
                        <a:lnTo>
                          <a:pt x="86" y="62"/>
                        </a:lnTo>
                        <a:lnTo>
                          <a:pt x="85" y="64"/>
                        </a:lnTo>
                        <a:lnTo>
                          <a:pt x="85" y="66"/>
                        </a:lnTo>
                        <a:lnTo>
                          <a:pt x="84" y="69"/>
                        </a:lnTo>
                        <a:lnTo>
                          <a:pt x="83" y="71"/>
                        </a:lnTo>
                        <a:lnTo>
                          <a:pt x="83" y="73"/>
                        </a:lnTo>
                        <a:lnTo>
                          <a:pt x="81" y="75"/>
                        </a:lnTo>
                        <a:lnTo>
                          <a:pt x="82" y="76"/>
                        </a:lnTo>
                        <a:lnTo>
                          <a:pt x="83" y="77"/>
                        </a:lnTo>
                        <a:lnTo>
                          <a:pt x="84" y="78"/>
                        </a:lnTo>
                        <a:lnTo>
                          <a:pt x="85" y="79"/>
                        </a:lnTo>
                        <a:lnTo>
                          <a:pt x="86" y="80"/>
                        </a:lnTo>
                        <a:lnTo>
                          <a:pt x="88" y="82"/>
                        </a:lnTo>
                        <a:lnTo>
                          <a:pt x="90" y="83"/>
                        </a:lnTo>
                        <a:lnTo>
                          <a:pt x="91" y="84"/>
                        </a:lnTo>
                        <a:lnTo>
                          <a:pt x="92" y="85"/>
                        </a:lnTo>
                        <a:lnTo>
                          <a:pt x="93" y="86"/>
                        </a:lnTo>
                        <a:lnTo>
                          <a:pt x="94" y="87"/>
                        </a:lnTo>
                        <a:lnTo>
                          <a:pt x="94" y="88"/>
                        </a:lnTo>
                        <a:lnTo>
                          <a:pt x="95" y="89"/>
                        </a:lnTo>
                        <a:lnTo>
                          <a:pt x="95" y="90"/>
                        </a:lnTo>
                        <a:lnTo>
                          <a:pt x="96" y="92"/>
                        </a:lnTo>
                        <a:lnTo>
                          <a:pt x="97" y="94"/>
                        </a:lnTo>
                        <a:lnTo>
                          <a:pt x="97" y="95"/>
                        </a:lnTo>
                        <a:lnTo>
                          <a:pt x="98" y="97"/>
                        </a:lnTo>
                        <a:lnTo>
                          <a:pt x="99" y="99"/>
                        </a:lnTo>
                        <a:lnTo>
                          <a:pt x="99" y="100"/>
                        </a:lnTo>
                        <a:lnTo>
                          <a:pt x="100" y="102"/>
                        </a:lnTo>
                        <a:lnTo>
                          <a:pt x="100" y="103"/>
                        </a:lnTo>
                        <a:lnTo>
                          <a:pt x="101" y="103"/>
                        </a:lnTo>
                        <a:lnTo>
                          <a:pt x="102" y="104"/>
                        </a:lnTo>
                        <a:lnTo>
                          <a:pt x="103" y="104"/>
                        </a:lnTo>
                        <a:lnTo>
                          <a:pt x="104" y="105"/>
                        </a:lnTo>
                        <a:lnTo>
                          <a:pt x="106" y="106"/>
                        </a:lnTo>
                        <a:lnTo>
                          <a:pt x="107" y="106"/>
                        </a:lnTo>
                        <a:lnTo>
                          <a:pt x="107" y="107"/>
                        </a:lnTo>
                        <a:lnTo>
                          <a:pt x="108" y="107"/>
                        </a:lnTo>
                        <a:lnTo>
                          <a:pt x="108" y="108"/>
                        </a:lnTo>
                        <a:lnTo>
                          <a:pt x="109" y="109"/>
                        </a:lnTo>
                        <a:lnTo>
                          <a:pt x="109" y="110"/>
                        </a:lnTo>
                        <a:lnTo>
                          <a:pt x="110" y="111"/>
                        </a:lnTo>
                        <a:lnTo>
                          <a:pt x="110" y="112"/>
                        </a:lnTo>
                        <a:lnTo>
                          <a:pt x="110" y="113"/>
                        </a:lnTo>
                        <a:lnTo>
                          <a:pt x="110" y="114"/>
                        </a:lnTo>
                        <a:lnTo>
                          <a:pt x="110" y="114"/>
                        </a:lnTo>
                        <a:lnTo>
                          <a:pt x="110" y="115"/>
                        </a:lnTo>
                        <a:lnTo>
                          <a:pt x="109" y="115"/>
                        </a:lnTo>
                        <a:lnTo>
                          <a:pt x="109" y="115"/>
                        </a:lnTo>
                        <a:lnTo>
                          <a:pt x="108" y="115"/>
                        </a:lnTo>
                        <a:lnTo>
                          <a:pt x="108" y="116"/>
                        </a:lnTo>
                        <a:lnTo>
                          <a:pt x="108" y="116"/>
                        </a:lnTo>
                        <a:lnTo>
                          <a:pt x="108" y="116"/>
                        </a:lnTo>
                        <a:lnTo>
                          <a:pt x="108" y="117"/>
                        </a:lnTo>
                        <a:lnTo>
                          <a:pt x="108" y="117"/>
                        </a:lnTo>
                        <a:lnTo>
                          <a:pt x="108" y="117"/>
                        </a:lnTo>
                        <a:lnTo>
                          <a:pt x="107" y="117"/>
                        </a:lnTo>
                        <a:lnTo>
                          <a:pt x="107" y="117"/>
                        </a:lnTo>
                        <a:lnTo>
                          <a:pt x="107" y="117"/>
                        </a:lnTo>
                        <a:lnTo>
                          <a:pt x="106" y="117"/>
                        </a:lnTo>
                        <a:lnTo>
                          <a:pt x="106" y="118"/>
                        </a:lnTo>
                        <a:lnTo>
                          <a:pt x="106" y="118"/>
                        </a:lnTo>
                        <a:lnTo>
                          <a:pt x="106" y="119"/>
                        </a:lnTo>
                        <a:lnTo>
                          <a:pt x="106" y="119"/>
                        </a:lnTo>
                        <a:lnTo>
                          <a:pt x="105" y="119"/>
                        </a:lnTo>
                        <a:lnTo>
                          <a:pt x="105" y="119"/>
                        </a:lnTo>
                        <a:lnTo>
                          <a:pt x="105" y="119"/>
                        </a:lnTo>
                        <a:lnTo>
                          <a:pt x="104" y="120"/>
                        </a:lnTo>
                        <a:lnTo>
                          <a:pt x="104" y="120"/>
                        </a:lnTo>
                        <a:lnTo>
                          <a:pt x="103" y="120"/>
                        </a:lnTo>
                        <a:lnTo>
                          <a:pt x="103" y="120"/>
                        </a:lnTo>
                        <a:lnTo>
                          <a:pt x="102" y="120"/>
                        </a:lnTo>
                        <a:lnTo>
                          <a:pt x="102" y="120"/>
                        </a:lnTo>
                        <a:lnTo>
                          <a:pt x="101" y="120"/>
                        </a:lnTo>
                        <a:lnTo>
                          <a:pt x="101" y="120"/>
                        </a:lnTo>
                        <a:lnTo>
                          <a:pt x="101" y="120"/>
                        </a:lnTo>
                        <a:lnTo>
                          <a:pt x="101" y="119"/>
                        </a:lnTo>
                        <a:lnTo>
                          <a:pt x="101" y="119"/>
                        </a:lnTo>
                        <a:lnTo>
                          <a:pt x="101" y="119"/>
                        </a:lnTo>
                        <a:lnTo>
                          <a:pt x="101" y="119"/>
                        </a:lnTo>
                        <a:lnTo>
                          <a:pt x="100" y="119"/>
                        </a:lnTo>
                        <a:lnTo>
                          <a:pt x="100" y="119"/>
                        </a:lnTo>
                        <a:lnTo>
                          <a:pt x="100" y="119"/>
                        </a:lnTo>
                        <a:lnTo>
                          <a:pt x="100" y="120"/>
                        </a:lnTo>
                        <a:lnTo>
                          <a:pt x="100" y="120"/>
                        </a:lnTo>
                        <a:lnTo>
                          <a:pt x="100" y="120"/>
                        </a:lnTo>
                        <a:lnTo>
                          <a:pt x="99" y="121"/>
                        </a:lnTo>
                        <a:lnTo>
                          <a:pt x="98" y="121"/>
                        </a:lnTo>
                        <a:lnTo>
                          <a:pt x="97" y="122"/>
                        </a:lnTo>
                        <a:lnTo>
                          <a:pt x="97" y="122"/>
                        </a:lnTo>
                        <a:lnTo>
                          <a:pt x="96" y="123"/>
                        </a:lnTo>
                        <a:lnTo>
                          <a:pt x="96" y="124"/>
                        </a:lnTo>
                        <a:lnTo>
                          <a:pt x="95" y="124"/>
                        </a:lnTo>
                        <a:lnTo>
                          <a:pt x="95" y="125"/>
                        </a:lnTo>
                        <a:lnTo>
                          <a:pt x="94" y="125"/>
                        </a:lnTo>
                        <a:lnTo>
                          <a:pt x="94" y="125"/>
                        </a:lnTo>
                        <a:lnTo>
                          <a:pt x="94" y="125"/>
                        </a:lnTo>
                        <a:lnTo>
                          <a:pt x="93" y="126"/>
                        </a:lnTo>
                        <a:lnTo>
                          <a:pt x="93" y="126"/>
                        </a:lnTo>
                        <a:lnTo>
                          <a:pt x="93" y="126"/>
                        </a:lnTo>
                        <a:lnTo>
                          <a:pt x="93" y="127"/>
                        </a:lnTo>
                        <a:lnTo>
                          <a:pt x="93" y="127"/>
                        </a:lnTo>
                        <a:lnTo>
                          <a:pt x="93" y="128"/>
                        </a:lnTo>
                        <a:lnTo>
                          <a:pt x="93" y="128"/>
                        </a:lnTo>
                        <a:lnTo>
                          <a:pt x="92" y="128"/>
                        </a:lnTo>
                        <a:lnTo>
                          <a:pt x="92" y="129"/>
                        </a:lnTo>
                        <a:lnTo>
                          <a:pt x="91" y="130"/>
                        </a:lnTo>
                        <a:lnTo>
                          <a:pt x="90" y="130"/>
                        </a:lnTo>
                        <a:lnTo>
                          <a:pt x="89" y="130"/>
                        </a:lnTo>
                        <a:lnTo>
                          <a:pt x="89" y="130"/>
                        </a:lnTo>
                        <a:lnTo>
                          <a:pt x="88" y="130"/>
                        </a:lnTo>
                        <a:lnTo>
                          <a:pt x="88" y="130"/>
                        </a:lnTo>
                        <a:lnTo>
                          <a:pt x="88" y="131"/>
                        </a:lnTo>
                        <a:lnTo>
                          <a:pt x="88" y="131"/>
                        </a:lnTo>
                        <a:lnTo>
                          <a:pt x="88" y="131"/>
                        </a:lnTo>
                        <a:lnTo>
                          <a:pt x="88" y="132"/>
                        </a:lnTo>
                        <a:lnTo>
                          <a:pt x="87" y="132"/>
                        </a:lnTo>
                        <a:lnTo>
                          <a:pt x="86" y="132"/>
                        </a:lnTo>
                        <a:lnTo>
                          <a:pt x="86" y="132"/>
                        </a:lnTo>
                        <a:lnTo>
                          <a:pt x="85" y="132"/>
                        </a:lnTo>
                        <a:lnTo>
                          <a:pt x="84" y="132"/>
                        </a:lnTo>
                        <a:lnTo>
                          <a:pt x="84" y="132"/>
                        </a:lnTo>
                        <a:lnTo>
                          <a:pt x="84" y="132"/>
                        </a:lnTo>
                        <a:lnTo>
                          <a:pt x="83" y="132"/>
                        </a:lnTo>
                        <a:lnTo>
                          <a:pt x="83" y="132"/>
                        </a:lnTo>
                        <a:lnTo>
                          <a:pt x="83" y="133"/>
                        </a:lnTo>
                        <a:lnTo>
                          <a:pt x="83" y="133"/>
                        </a:lnTo>
                        <a:lnTo>
                          <a:pt x="83" y="134"/>
                        </a:lnTo>
                        <a:lnTo>
                          <a:pt x="82" y="134"/>
                        </a:lnTo>
                        <a:lnTo>
                          <a:pt x="81" y="134"/>
                        </a:lnTo>
                        <a:lnTo>
                          <a:pt x="80" y="134"/>
                        </a:lnTo>
                        <a:lnTo>
                          <a:pt x="80" y="134"/>
                        </a:lnTo>
                        <a:lnTo>
                          <a:pt x="79" y="135"/>
                        </a:lnTo>
                        <a:lnTo>
                          <a:pt x="78" y="135"/>
                        </a:lnTo>
                        <a:lnTo>
                          <a:pt x="78" y="136"/>
                        </a:lnTo>
                        <a:lnTo>
                          <a:pt x="78" y="136"/>
                        </a:lnTo>
                        <a:lnTo>
                          <a:pt x="77" y="138"/>
                        </a:lnTo>
                        <a:lnTo>
                          <a:pt x="76" y="138"/>
                        </a:lnTo>
                        <a:lnTo>
                          <a:pt x="76" y="139"/>
                        </a:lnTo>
                        <a:lnTo>
                          <a:pt x="75" y="139"/>
                        </a:lnTo>
                        <a:lnTo>
                          <a:pt x="75" y="140"/>
                        </a:lnTo>
                        <a:lnTo>
                          <a:pt x="74" y="140"/>
                        </a:lnTo>
                        <a:lnTo>
                          <a:pt x="73" y="140"/>
                        </a:lnTo>
                        <a:lnTo>
                          <a:pt x="72" y="140"/>
                        </a:lnTo>
                        <a:lnTo>
                          <a:pt x="72" y="141"/>
                        </a:lnTo>
                        <a:lnTo>
                          <a:pt x="71" y="141"/>
                        </a:lnTo>
                        <a:lnTo>
                          <a:pt x="71" y="141"/>
                        </a:lnTo>
                        <a:lnTo>
                          <a:pt x="71" y="142"/>
                        </a:lnTo>
                        <a:lnTo>
                          <a:pt x="70" y="142"/>
                        </a:lnTo>
                        <a:lnTo>
                          <a:pt x="70" y="143"/>
                        </a:lnTo>
                        <a:lnTo>
                          <a:pt x="70" y="144"/>
                        </a:lnTo>
                        <a:lnTo>
                          <a:pt x="70" y="144"/>
                        </a:lnTo>
                        <a:lnTo>
                          <a:pt x="69" y="145"/>
                        </a:lnTo>
                        <a:lnTo>
                          <a:pt x="69" y="145"/>
                        </a:lnTo>
                        <a:lnTo>
                          <a:pt x="69" y="146"/>
                        </a:lnTo>
                        <a:lnTo>
                          <a:pt x="68" y="146"/>
                        </a:lnTo>
                        <a:lnTo>
                          <a:pt x="67" y="147"/>
                        </a:lnTo>
                        <a:lnTo>
                          <a:pt x="67" y="147"/>
                        </a:lnTo>
                        <a:lnTo>
                          <a:pt x="67" y="148"/>
                        </a:lnTo>
                        <a:lnTo>
                          <a:pt x="66" y="148"/>
                        </a:lnTo>
                        <a:lnTo>
                          <a:pt x="66" y="149"/>
                        </a:lnTo>
                        <a:lnTo>
                          <a:pt x="66" y="149"/>
                        </a:lnTo>
                        <a:lnTo>
                          <a:pt x="65" y="149"/>
                        </a:lnTo>
                        <a:lnTo>
                          <a:pt x="65" y="149"/>
                        </a:lnTo>
                        <a:lnTo>
                          <a:pt x="64" y="150"/>
                        </a:lnTo>
                        <a:lnTo>
                          <a:pt x="64" y="150"/>
                        </a:lnTo>
                        <a:lnTo>
                          <a:pt x="64" y="151"/>
                        </a:lnTo>
                        <a:lnTo>
                          <a:pt x="63" y="151"/>
                        </a:lnTo>
                        <a:lnTo>
                          <a:pt x="63" y="152"/>
                        </a:lnTo>
                        <a:lnTo>
                          <a:pt x="62" y="152"/>
                        </a:lnTo>
                        <a:lnTo>
                          <a:pt x="62" y="153"/>
                        </a:lnTo>
                        <a:lnTo>
                          <a:pt x="61" y="154"/>
                        </a:lnTo>
                        <a:lnTo>
                          <a:pt x="61" y="154"/>
                        </a:lnTo>
                        <a:lnTo>
                          <a:pt x="60" y="155"/>
                        </a:lnTo>
                        <a:lnTo>
                          <a:pt x="60" y="156"/>
                        </a:lnTo>
                        <a:lnTo>
                          <a:pt x="59" y="158"/>
                        </a:lnTo>
                        <a:lnTo>
                          <a:pt x="58" y="160"/>
                        </a:lnTo>
                        <a:lnTo>
                          <a:pt x="58" y="162"/>
                        </a:lnTo>
                        <a:lnTo>
                          <a:pt x="57" y="163"/>
                        </a:lnTo>
                        <a:lnTo>
                          <a:pt x="56" y="165"/>
                        </a:lnTo>
                        <a:lnTo>
                          <a:pt x="56" y="165"/>
                        </a:lnTo>
                        <a:lnTo>
                          <a:pt x="55" y="165"/>
                        </a:lnTo>
                        <a:lnTo>
                          <a:pt x="54" y="165"/>
                        </a:lnTo>
                        <a:lnTo>
                          <a:pt x="54" y="165"/>
                        </a:lnTo>
                        <a:lnTo>
                          <a:pt x="53" y="165"/>
                        </a:lnTo>
                        <a:lnTo>
                          <a:pt x="53" y="165"/>
                        </a:lnTo>
                        <a:lnTo>
                          <a:pt x="53" y="164"/>
                        </a:lnTo>
                        <a:lnTo>
                          <a:pt x="53" y="164"/>
                        </a:lnTo>
                        <a:lnTo>
                          <a:pt x="52" y="163"/>
                        </a:lnTo>
                        <a:lnTo>
                          <a:pt x="52" y="163"/>
                        </a:lnTo>
                        <a:lnTo>
                          <a:pt x="52" y="163"/>
                        </a:lnTo>
                        <a:lnTo>
                          <a:pt x="51" y="162"/>
                        </a:lnTo>
                        <a:lnTo>
                          <a:pt x="51" y="162"/>
                        </a:lnTo>
                        <a:lnTo>
                          <a:pt x="50" y="162"/>
                        </a:lnTo>
                        <a:lnTo>
                          <a:pt x="50" y="162"/>
                        </a:lnTo>
                        <a:lnTo>
                          <a:pt x="50" y="161"/>
                        </a:lnTo>
                        <a:lnTo>
                          <a:pt x="50" y="161"/>
                        </a:lnTo>
                        <a:lnTo>
                          <a:pt x="50" y="161"/>
                        </a:lnTo>
                        <a:lnTo>
                          <a:pt x="49" y="160"/>
                        </a:lnTo>
                        <a:lnTo>
                          <a:pt x="49" y="160"/>
                        </a:lnTo>
                        <a:lnTo>
                          <a:pt x="49" y="160"/>
                        </a:lnTo>
                        <a:lnTo>
                          <a:pt x="48" y="160"/>
                        </a:lnTo>
                        <a:lnTo>
                          <a:pt x="48" y="160"/>
                        </a:lnTo>
                        <a:lnTo>
                          <a:pt x="49" y="159"/>
                        </a:lnTo>
                        <a:lnTo>
                          <a:pt x="49" y="159"/>
                        </a:lnTo>
                        <a:lnTo>
                          <a:pt x="49" y="158"/>
                        </a:lnTo>
                        <a:lnTo>
                          <a:pt x="49" y="158"/>
                        </a:lnTo>
                        <a:lnTo>
                          <a:pt x="50" y="157"/>
                        </a:lnTo>
                        <a:lnTo>
                          <a:pt x="50" y="157"/>
                        </a:lnTo>
                        <a:lnTo>
                          <a:pt x="50" y="157"/>
                        </a:lnTo>
                        <a:lnTo>
                          <a:pt x="50" y="156"/>
                        </a:lnTo>
                        <a:lnTo>
                          <a:pt x="49" y="155"/>
                        </a:lnTo>
                        <a:lnTo>
                          <a:pt x="49" y="154"/>
                        </a:lnTo>
                        <a:lnTo>
                          <a:pt x="49" y="153"/>
                        </a:lnTo>
                        <a:lnTo>
                          <a:pt x="48" y="152"/>
                        </a:lnTo>
                        <a:lnTo>
                          <a:pt x="47" y="152"/>
                        </a:lnTo>
                        <a:lnTo>
                          <a:pt x="47" y="151"/>
                        </a:lnTo>
                        <a:lnTo>
                          <a:pt x="46" y="150"/>
                        </a:lnTo>
                        <a:lnTo>
                          <a:pt x="45" y="150"/>
                        </a:lnTo>
                        <a:lnTo>
                          <a:pt x="44" y="149"/>
                        </a:lnTo>
                        <a:lnTo>
                          <a:pt x="44" y="149"/>
                        </a:lnTo>
                        <a:lnTo>
                          <a:pt x="43" y="149"/>
                        </a:lnTo>
                        <a:lnTo>
                          <a:pt x="43" y="148"/>
                        </a:lnTo>
                        <a:lnTo>
                          <a:pt x="43" y="148"/>
                        </a:lnTo>
                        <a:lnTo>
                          <a:pt x="43" y="147"/>
                        </a:lnTo>
                        <a:lnTo>
                          <a:pt x="43" y="147"/>
                        </a:lnTo>
                        <a:lnTo>
                          <a:pt x="42" y="147"/>
                        </a:lnTo>
                        <a:lnTo>
                          <a:pt x="42" y="147"/>
                        </a:lnTo>
                        <a:lnTo>
                          <a:pt x="41" y="147"/>
                        </a:lnTo>
                        <a:lnTo>
                          <a:pt x="41" y="147"/>
                        </a:lnTo>
                        <a:lnTo>
                          <a:pt x="41" y="147"/>
                        </a:lnTo>
                        <a:lnTo>
                          <a:pt x="40" y="147"/>
                        </a:lnTo>
                        <a:lnTo>
                          <a:pt x="40" y="147"/>
                        </a:lnTo>
                        <a:lnTo>
                          <a:pt x="39" y="147"/>
                        </a:lnTo>
                        <a:lnTo>
                          <a:pt x="38" y="147"/>
                        </a:lnTo>
                        <a:lnTo>
                          <a:pt x="38" y="147"/>
                        </a:lnTo>
                        <a:lnTo>
                          <a:pt x="37" y="147"/>
                        </a:lnTo>
                        <a:lnTo>
                          <a:pt x="37" y="147"/>
                        </a:lnTo>
                        <a:lnTo>
                          <a:pt x="37" y="148"/>
                        </a:lnTo>
                        <a:lnTo>
                          <a:pt x="37" y="148"/>
                        </a:lnTo>
                        <a:lnTo>
                          <a:pt x="36" y="149"/>
                        </a:lnTo>
                        <a:lnTo>
                          <a:pt x="35" y="148"/>
                        </a:lnTo>
                        <a:lnTo>
                          <a:pt x="34" y="148"/>
                        </a:lnTo>
                        <a:lnTo>
                          <a:pt x="32" y="148"/>
                        </a:lnTo>
                        <a:lnTo>
                          <a:pt x="31" y="148"/>
                        </a:lnTo>
                        <a:lnTo>
                          <a:pt x="28" y="149"/>
                        </a:lnTo>
                        <a:lnTo>
                          <a:pt x="25" y="149"/>
                        </a:lnTo>
                        <a:lnTo>
                          <a:pt x="24" y="149"/>
                        </a:lnTo>
                        <a:lnTo>
                          <a:pt x="22" y="149"/>
                        </a:lnTo>
                        <a:lnTo>
                          <a:pt x="21" y="149"/>
                        </a:lnTo>
                        <a:lnTo>
                          <a:pt x="20" y="149"/>
                        </a:lnTo>
                        <a:lnTo>
                          <a:pt x="19" y="148"/>
                        </a:lnTo>
                        <a:lnTo>
                          <a:pt x="18" y="148"/>
                        </a:lnTo>
                        <a:lnTo>
                          <a:pt x="17" y="148"/>
                        </a:lnTo>
                        <a:lnTo>
                          <a:pt x="16" y="147"/>
                        </a:lnTo>
                        <a:lnTo>
                          <a:pt x="17" y="146"/>
                        </a:lnTo>
                        <a:lnTo>
                          <a:pt x="17" y="146"/>
                        </a:lnTo>
                        <a:lnTo>
                          <a:pt x="16" y="145"/>
                        </a:lnTo>
                        <a:lnTo>
                          <a:pt x="16" y="145"/>
                        </a:lnTo>
                        <a:lnTo>
                          <a:pt x="16" y="144"/>
                        </a:lnTo>
                        <a:lnTo>
                          <a:pt x="16" y="144"/>
                        </a:lnTo>
                        <a:lnTo>
                          <a:pt x="15" y="144"/>
                        </a:lnTo>
                        <a:lnTo>
                          <a:pt x="15" y="144"/>
                        </a:lnTo>
                        <a:lnTo>
                          <a:pt x="15" y="139"/>
                        </a:lnTo>
                        <a:lnTo>
                          <a:pt x="15" y="138"/>
                        </a:lnTo>
                        <a:lnTo>
                          <a:pt x="15" y="137"/>
                        </a:lnTo>
                        <a:lnTo>
                          <a:pt x="15" y="137"/>
                        </a:lnTo>
                        <a:lnTo>
                          <a:pt x="15" y="136"/>
                        </a:lnTo>
                        <a:lnTo>
                          <a:pt x="14" y="136"/>
                        </a:lnTo>
                        <a:lnTo>
                          <a:pt x="14" y="136"/>
                        </a:lnTo>
                        <a:lnTo>
                          <a:pt x="13" y="135"/>
                        </a:lnTo>
                        <a:lnTo>
                          <a:pt x="13" y="135"/>
                        </a:lnTo>
                        <a:lnTo>
                          <a:pt x="13" y="130"/>
                        </a:lnTo>
                        <a:lnTo>
                          <a:pt x="13" y="130"/>
                        </a:lnTo>
                        <a:lnTo>
                          <a:pt x="13" y="129"/>
                        </a:lnTo>
                        <a:lnTo>
                          <a:pt x="13" y="129"/>
                        </a:lnTo>
                        <a:lnTo>
                          <a:pt x="13" y="129"/>
                        </a:lnTo>
                        <a:lnTo>
                          <a:pt x="12" y="129"/>
                        </a:lnTo>
                        <a:lnTo>
                          <a:pt x="12" y="129"/>
                        </a:lnTo>
                        <a:lnTo>
                          <a:pt x="11" y="129"/>
                        </a:lnTo>
                        <a:lnTo>
                          <a:pt x="11" y="124"/>
                        </a:lnTo>
                        <a:lnTo>
                          <a:pt x="11" y="124"/>
                        </a:lnTo>
                        <a:lnTo>
                          <a:pt x="11" y="124"/>
                        </a:lnTo>
                        <a:lnTo>
                          <a:pt x="10" y="124"/>
                        </a:lnTo>
                        <a:lnTo>
                          <a:pt x="10" y="124"/>
                        </a:lnTo>
                        <a:lnTo>
                          <a:pt x="10" y="123"/>
                        </a:lnTo>
                        <a:lnTo>
                          <a:pt x="9" y="123"/>
                        </a:lnTo>
                        <a:lnTo>
                          <a:pt x="9" y="123"/>
                        </a:lnTo>
                        <a:lnTo>
                          <a:pt x="9" y="123"/>
                        </a:lnTo>
                        <a:lnTo>
                          <a:pt x="9" y="122"/>
                        </a:lnTo>
                        <a:lnTo>
                          <a:pt x="8" y="122"/>
                        </a:lnTo>
                        <a:lnTo>
                          <a:pt x="7" y="122"/>
                        </a:lnTo>
                        <a:lnTo>
                          <a:pt x="6" y="122"/>
                        </a:lnTo>
                        <a:lnTo>
                          <a:pt x="5" y="122"/>
                        </a:lnTo>
                        <a:lnTo>
                          <a:pt x="4" y="122"/>
                        </a:lnTo>
                        <a:lnTo>
                          <a:pt x="3" y="122"/>
                        </a:lnTo>
                        <a:lnTo>
                          <a:pt x="2" y="122"/>
                        </a:lnTo>
                        <a:lnTo>
                          <a:pt x="1" y="122"/>
                        </a:lnTo>
                        <a:lnTo>
                          <a:pt x="1" y="121"/>
                        </a:lnTo>
                        <a:lnTo>
                          <a:pt x="1" y="120"/>
                        </a:lnTo>
                        <a:lnTo>
                          <a:pt x="1" y="119"/>
                        </a:lnTo>
                        <a:lnTo>
                          <a:pt x="1" y="119"/>
                        </a:lnTo>
                        <a:lnTo>
                          <a:pt x="1" y="118"/>
                        </a:lnTo>
                        <a:lnTo>
                          <a:pt x="1" y="118"/>
                        </a:lnTo>
                        <a:lnTo>
                          <a:pt x="1" y="117"/>
                        </a:lnTo>
                        <a:lnTo>
                          <a:pt x="1" y="116"/>
                        </a:lnTo>
                        <a:lnTo>
                          <a:pt x="1" y="116"/>
                        </a:lnTo>
                        <a:lnTo>
                          <a:pt x="1" y="116"/>
                        </a:lnTo>
                        <a:lnTo>
                          <a:pt x="0" y="115"/>
                        </a:lnTo>
                        <a:lnTo>
                          <a:pt x="0" y="115"/>
                        </a:lnTo>
                        <a:lnTo>
                          <a:pt x="0" y="115"/>
                        </a:lnTo>
                        <a:lnTo>
                          <a:pt x="0" y="110"/>
                        </a:lnTo>
                        <a:lnTo>
                          <a:pt x="0" y="110"/>
                        </a:lnTo>
                        <a:lnTo>
                          <a:pt x="0" y="110"/>
                        </a:lnTo>
                        <a:lnTo>
                          <a:pt x="1" y="110"/>
                        </a:lnTo>
                        <a:lnTo>
                          <a:pt x="1" y="110"/>
                        </a:lnTo>
                        <a:lnTo>
                          <a:pt x="1" y="110"/>
                        </a:lnTo>
                        <a:lnTo>
                          <a:pt x="1" y="110"/>
                        </a:lnTo>
                        <a:lnTo>
                          <a:pt x="1" y="109"/>
                        </a:lnTo>
                        <a:lnTo>
                          <a:pt x="1" y="109"/>
                        </a:lnTo>
                        <a:lnTo>
                          <a:pt x="2" y="109"/>
                        </a:lnTo>
                        <a:lnTo>
                          <a:pt x="2" y="109"/>
                        </a:lnTo>
                        <a:lnTo>
                          <a:pt x="3" y="109"/>
                        </a:lnTo>
                        <a:lnTo>
                          <a:pt x="3" y="109"/>
                        </a:lnTo>
                        <a:lnTo>
                          <a:pt x="5" y="107"/>
                        </a:lnTo>
                        <a:lnTo>
                          <a:pt x="7" y="106"/>
                        </a:lnTo>
                        <a:lnTo>
                          <a:pt x="9" y="104"/>
                        </a:lnTo>
                        <a:lnTo>
                          <a:pt x="11" y="103"/>
                        </a:lnTo>
                        <a:lnTo>
                          <a:pt x="15" y="100"/>
                        </a:lnTo>
                        <a:lnTo>
                          <a:pt x="20" y="98"/>
                        </a:lnTo>
                        <a:lnTo>
                          <a:pt x="24" y="95"/>
                        </a:lnTo>
                        <a:lnTo>
                          <a:pt x="28" y="93"/>
                        </a:lnTo>
                        <a:lnTo>
                          <a:pt x="30" y="91"/>
                        </a:lnTo>
                        <a:lnTo>
                          <a:pt x="32" y="90"/>
                        </a:lnTo>
                        <a:lnTo>
                          <a:pt x="34" y="89"/>
                        </a:lnTo>
                        <a:lnTo>
                          <a:pt x="36" y="87"/>
                        </a:lnTo>
                        <a:lnTo>
                          <a:pt x="37" y="86"/>
                        </a:lnTo>
                        <a:lnTo>
                          <a:pt x="37" y="86"/>
                        </a:lnTo>
                        <a:lnTo>
                          <a:pt x="37" y="85"/>
                        </a:lnTo>
                        <a:lnTo>
                          <a:pt x="36" y="85"/>
                        </a:lnTo>
                        <a:lnTo>
                          <a:pt x="36" y="84"/>
                        </a:lnTo>
                        <a:lnTo>
                          <a:pt x="36" y="84"/>
                        </a:lnTo>
                        <a:lnTo>
                          <a:pt x="35" y="83"/>
                        </a:lnTo>
                        <a:lnTo>
                          <a:pt x="35" y="82"/>
                        </a:lnTo>
                        <a:lnTo>
                          <a:pt x="35" y="82"/>
                        </a:lnTo>
                        <a:lnTo>
                          <a:pt x="35" y="81"/>
                        </a:lnTo>
                        <a:lnTo>
                          <a:pt x="34" y="81"/>
                        </a:lnTo>
                        <a:lnTo>
                          <a:pt x="34" y="80"/>
                        </a:lnTo>
                        <a:lnTo>
                          <a:pt x="34" y="80"/>
                        </a:lnTo>
                        <a:lnTo>
                          <a:pt x="35" y="79"/>
                        </a:lnTo>
                        <a:lnTo>
                          <a:pt x="36" y="78"/>
                        </a:lnTo>
                        <a:lnTo>
                          <a:pt x="36" y="77"/>
                        </a:lnTo>
                        <a:lnTo>
                          <a:pt x="37" y="76"/>
                        </a:lnTo>
                        <a:lnTo>
                          <a:pt x="38" y="76"/>
                        </a:lnTo>
                        <a:lnTo>
                          <a:pt x="38" y="75"/>
                        </a:lnTo>
                        <a:lnTo>
                          <a:pt x="39" y="73"/>
                        </a:lnTo>
                        <a:lnTo>
                          <a:pt x="39" y="72"/>
                        </a:lnTo>
                        <a:lnTo>
                          <a:pt x="39" y="71"/>
                        </a:lnTo>
                        <a:lnTo>
                          <a:pt x="40" y="70"/>
                        </a:lnTo>
                        <a:lnTo>
                          <a:pt x="40" y="68"/>
                        </a:lnTo>
                        <a:lnTo>
                          <a:pt x="40" y="67"/>
                        </a:lnTo>
                        <a:lnTo>
                          <a:pt x="40" y="65"/>
                        </a:lnTo>
                        <a:lnTo>
                          <a:pt x="40" y="64"/>
                        </a:lnTo>
                        <a:lnTo>
                          <a:pt x="40" y="62"/>
                        </a:lnTo>
                        <a:lnTo>
                          <a:pt x="40" y="60"/>
                        </a:lnTo>
                        <a:lnTo>
                          <a:pt x="40" y="59"/>
                        </a:lnTo>
                        <a:lnTo>
                          <a:pt x="39" y="58"/>
                        </a:lnTo>
                        <a:lnTo>
                          <a:pt x="39" y="57"/>
                        </a:lnTo>
                        <a:lnTo>
                          <a:pt x="38" y="57"/>
                        </a:lnTo>
                        <a:lnTo>
                          <a:pt x="37" y="56"/>
                        </a:lnTo>
                        <a:lnTo>
                          <a:pt x="36" y="56"/>
                        </a:lnTo>
                        <a:lnTo>
                          <a:pt x="35" y="55"/>
                        </a:lnTo>
                        <a:lnTo>
                          <a:pt x="34" y="54"/>
                        </a:lnTo>
                        <a:lnTo>
                          <a:pt x="33" y="54"/>
                        </a:lnTo>
                        <a:lnTo>
                          <a:pt x="33" y="53"/>
                        </a:lnTo>
                        <a:lnTo>
                          <a:pt x="32" y="52"/>
                        </a:lnTo>
                        <a:lnTo>
                          <a:pt x="32" y="52"/>
                        </a:lnTo>
                        <a:lnTo>
                          <a:pt x="32" y="51"/>
                        </a:lnTo>
                        <a:lnTo>
                          <a:pt x="31" y="50"/>
                        </a:lnTo>
                        <a:lnTo>
                          <a:pt x="31" y="49"/>
                        </a:lnTo>
                        <a:lnTo>
                          <a:pt x="31" y="44"/>
                        </a:lnTo>
                        <a:lnTo>
                          <a:pt x="31" y="40"/>
                        </a:lnTo>
                        <a:lnTo>
                          <a:pt x="31" y="35"/>
                        </a:lnTo>
                        <a:lnTo>
                          <a:pt x="31" y="31"/>
                        </a:lnTo>
                        <a:lnTo>
                          <a:pt x="31" y="30"/>
                        </a:lnTo>
                        <a:lnTo>
                          <a:pt x="31" y="29"/>
                        </a:lnTo>
                        <a:lnTo>
                          <a:pt x="30" y="28"/>
                        </a:lnTo>
                        <a:lnTo>
                          <a:pt x="30" y="28"/>
                        </a:lnTo>
                        <a:lnTo>
                          <a:pt x="29" y="27"/>
                        </a:lnTo>
                        <a:lnTo>
                          <a:pt x="28" y="27"/>
                        </a:lnTo>
                        <a:lnTo>
                          <a:pt x="27" y="26"/>
                        </a:lnTo>
                        <a:lnTo>
                          <a:pt x="27" y="25"/>
                        </a:lnTo>
                        <a:lnTo>
                          <a:pt x="26" y="24"/>
                        </a:lnTo>
                        <a:lnTo>
                          <a:pt x="26" y="24"/>
                        </a:lnTo>
                        <a:lnTo>
                          <a:pt x="25" y="23"/>
                        </a:lnTo>
                        <a:lnTo>
                          <a:pt x="25" y="22"/>
                        </a:lnTo>
                        <a:lnTo>
                          <a:pt x="25" y="21"/>
                        </a:lnTo>
                        <a:lnTo>
                          <a:pt x="24" y="21"/>
                        </a:lnTo>
                        <a:lnTo>
                          <a:pt x="25" y="20"/>
                        </a:lnTo>
                        <a:lnTo>
                          <a:pt x="25" y="20"/>
                        </a:lnTo>
                        <a:lnTo>
                          <a:pt x="25" y="19"/>
                        </a:lnTo>
                        <a:lnTo>
                          <a:pt x="25" y="18"/>
                        </a:lnTo>
                        <a:lnTo>
                          <a:pt x="25" y="17"/>
                        </a:lnTo>
                        <a:lnTo>
                          <a:pt x="26" y="15"/>
                        </a:lnTo>
                        <a:lnTo>
                          <a:pt x="26" y="13"/>
                        </a:lnTo>
                        <a:lnTo>
                          <a:pt x="27" y="11"/>
                        </a:lnTo>
                        <a:lnTo>
                          <a:pt x="27" y="9"/>
                        </a:lnTo>
                        <a:lnTo>
                          <a:pt x="28" y="8"/>
                        </a:lnTo>
                        <a:lnTo>
                          <a:pt x="28" y="7"/>
                        </a:lnTo>
                        <a:lnTo>
                          <a:pt x="28" y="6"/>
                        </a:lnTo>
                        <a:lnTo>
                          <a:pt x="28" y="5"/>
                        </a:lnTo>
                        <a:lnTo>
                          <a:pt x="28" y="4"/>
                        </a:lnTo>
                        <a:lnTo>
                          <a:pt x="28" y="2"/>
                        </a:lnTo>
                        <a:lnTo>
                          <a:pt x="30" y="2"/>
                        </a:lnTo>
                        <a:lnTo>
                          <a:pt x="32" y="1"/>
                        </a:lnTo>
                        <a:lnTo>
                          <a:pt x="34" y="1"/>
                        </a:lnTo>
                        <a:lnTo>
                          <a:pt x="37" y="0"/>
                        </a:lnTo>
                        <a:lnTo>
                          <a:pt x="39" y="0"/>
                        </a:lnTo>
                        <a:lnTo>
                          <a:pt x="42" y="0"/>
                        </a:lnTo>
                        <a:lnTo>
                          <a:pt x="44" y="0"/>
                        </a:lnTo>
                        <a:lnTo>
                          <a:pt x="47" y="0"/>
                        </a:lnTo>
                        <a:lnTo>
                          <a:pt x="52" y="0"/>
                        </a:lnTo>
                        <a:lnTo>
                          <a:pt x="58" y="1"/>
                        </a:lnTo>
                        <a:lnTo>
                          <a:pt x="60" y="1"/>
                        </a:lnTo>
                        <a:lnTo>
                          <a:pt x="63" y="1"/>
                        </a:lnTo>
                        <a:lnTo>
                          <a:pt x="66" y="1"/>
                        </a:lnTo>
                        <a:lnTo>
                          <a:pt x="68" y="0"/>
                        </a:lnTo>
                        <a:lnTo>
                          <a:pt x="69" y="1"/>
                        </a:lnTo>
                        <a:lnTo>
                          <a:pt x="69" y="1"/>
                        </a:lnTo>
                        <a:lnTo>
                          <a:pt x="70" y="1"/>
                        </a:lnTo>
                        <a:lnTo>
                          <a:pt x="70" y="2"/>
                        </a:lnTo>
                        <a:lnTo>
                          <a:pt x="70" y="2"/>
                        </a:lnTo>
                        <a:lnTo>
                          <a:pt x="71" y="3"/>
                        </a:lnTo>
                        <a:lnTo>
                          <a:pt x="71" y="3"/>
                        </a:lnTo>
                        <a:lnTo>
                          <a:pt x="71" y="4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accent1"/>
                    </a:solidFill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algn="ctr" defTabSz="914308">
                      <a:defRPr/>
                    </a:pPr>
                    <a:endParaRPr lang="en-US" sz="900" kern="0" dirty="0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latin typeface="Times New Roman" pitchFamily="18" charset="0"/>
                      <a:cs typeface="Times New Roman" pitchFamily="18" charset="0"/>
                    </a:endParaRPr>
                  </a:p>
                </p:txBody>
              </p:sp>
              <p:sp>
                <p:nvSpPr>
                  <p:cNvPr id="317" name="Freeform 14"/>
                  <p:cNvSpPr>
                    <a:spLocks/>
                  </p:cNvSpPr>
                  <p:nvPr/>
                </p:nvSpPr>
                <p:spPr bwMode="auto">
                  <a:xfrm>
                    <a:off x="4005206" y="1924312"/>
                    <a:ext cx="867295" cy="1084572"/>
                  </a:xfrm>
                  <a:custGeom>
                    <a:avLst/>
                    <a:gdLst/>
                    <a:ahLst/>
                    <a:cxnLst>
                      <a:cxn ang="0">
                        <a:pos x="111" y="79"/>
                      </a:cxn>
                      <a:cxn ang="0">
                        <a:pos x="102" y="88"/>
                      </a:cxn>
                      <a:cxn ang="0">
                        <a:pos x="98" y="95"/>
                      </a:cxn>
                      <a:cxn ang="0">
                        <a:pos x="99" y="104"/>
                      </a:cxn>
                      <a:cxn ang="0">
                        <a:pos x="107" y="113"/>
                      </a:cxn>
                      <a:cxn ang="0">
                        <a:pos x="109" y="121"/>
                      </a:cxn>
                      <a:cxn ang="0">
                        <a:pos x="105" y="126"/>
                      </a:cxn>
                      <a:cxn ang="0">
                        <a:pos x="96" y="128"/>
                      </a:cxn>
                      <a:cxn ang="0">
                        <a:pos x="91" y="118"/>
                      </a:cxn>
                      <a:cxn ang="0">
                        <a:pos x="82" y="112"/>
                      </a:cxn>
                      <a:cxn ang="0">
                        <a:pos x="74" y="113"/>
                      </a:cxn>
                      <a:cxn ang="0">
                        <a:pos x="69" y="120"/>
                      </a:cxn>
                      <a:cxn ang="0">
                        <a:pos x="64" y="126"/>
                      </a:cxn>
                      <a:cxn ang="0">
                        <a:pos x="50" y="128"/>
                      </a:cxn>
                      <a:cxn ang="0">
                        <a:pos x="45" y="133"/>
                      </a:cxn>
                      <a:cxn ang="0">
                        <a:pos x="43" y="135"/>
                      </a:cxn>
                      <a:cxn ang="0">
                        <a:pos x="41" y="130"/>
                      </a:cxn>
                      <a:cxn ang="0">
                        <a:pos x="40" y="126"/>
                      </a:cxn>
                      <a:cxn ang="0">
                        <a:pos x="34" y="122"/>
                      </a:cxn>
                      <a:cxn ang="0">
                        <a:pos x="21" y="119"/>
                      </a:cxn>
                      <a:cxn ang="0">
                        <a:pos x="19" y="113"/>
                      </a:cxn>
                      <a:cxn ang="0">
                        <a:pos x="18" y="108"/>
                      </a:cxn>
                      <a:cxn ang="0">
                        <a:pos x="15" y="106"/>
                      </a:cxn>
                      <a:cxn ang="0">
                        <a:pos x="14" y="102"/>
                      </a:cxn>
                      <a:cxn ang="0">
                        <a:pos x="11" y="98"/>
                      </a:cxn>
                      <a:cxn ang="0">
                        <a:pos x="14" y="96"/>
                      </a:cxn>
                      <a:cxn ang="0">
                        <a:pos x="14" y="89"/>
                      </a:cxn>
                      <a:cxn ang="0">
                        <a:pos x="16" y="82"/>
                      </a:cxn>
                      <a:cxn ang="0">
                        <a:pos x="18" y="73"/>
                      </a:cxn>
                      <a:cxn ang="0">
                        <a:pos x="16" y="64"/>
                      </a:cxn>
                      <a:cxn ang="0">
                        <a:pos x="12" y="59"/>
                      </a:cxn>
                      <a:cxn ang="0">
                        <a:pos x="6" y="56"/>
                      </a:cxn>
                      <a:cxn ang="0">
                        <a:pos x="5" y="55"/>
                      </a:cxn>
                      <a:cxn ang="0">
                        <a:pos x="4" y="50"/>
                      </a:cxn>
                      <a:cxn ang="0">
                        <a:pos x="0" y="48"/>
                      </a:cxn>
                      <a:cxn ang="0">
                        <a:pos x="1" y="43"/>
                      </a:cxn>
                      <a:cxn ang="0">
                        <a:pos x="3" y="38"/>
                      </a:cxn>
                      <a:cxn ang="0">
                        <a:pos x="2" y="35"/>
                      </a:cxn>
                      <a:cxn ang="0">
                        <a:pos x="4" y="32"/>
                      </a:cxn>
                      <a:cxn ang="0">
                        <a:pos x="10" y="30"/>
                      </a:cxn>
                      <a:cxn ang="0">
                        <a:pos x="14" y="32"/>
                      </a:cxn>
                      <a:cxn ang="0">
                        <a:pos x="18" y="30"/>
                      </a:cxn>
                      <a:cxn ang="0">
                        <a:pos x="24" y="24"/>
                      </a:cxn>
                      <a:cxn ang="0">
                        <a:pos x="33" y="19"/>
                      </a:cxn>
                      <a:cxn ang="0">
                        <a:pos x="36" y="13"/>
                      </a:cxn>
                      <a:cxn ang="0">
                        <a:pos x="44" y="10"/>
                      </a:cxn>
                      <a:cxn ang="0">
                        <a:pos x="48" y="4"/>
                      </a:cxn>
                      <a:cxn ang="0">
                        <a:pos x="54" y="3"/>
                      </a:cxn>
                      <a:cxn ang="0">
                        <a:pos x="59" y="0"/>
                      </a:cxn>
                      <a:cxn ang="0">
                        <a:pos x="61" y="6"/>
                      </a:cxn>
                      <a:cxn ang="0">
                        <a:pos x="58" y="10"/>
                      </a:cxn>
                      <a:cxn ang="0">
                        <a:pos x="55" y="13"/>
                      </a:cxn>
                      <a:cxn ang="0">
                        <a:pos x="60" y="17"/>
                      </a:cxn>
                      <a:cxn ang="0">
                        <a:pos x="70" y="22"/>
                      </a:cxn>
                      <a:cxn ang="0">
                        <a:pos x="77" y="26"/>
                      </a:cxn>
                      <a:cxn ang="0">
                        <a:pos x="101" y="54"/>
                      </a:cxn>
                    </a:cxnLst>
                    <a:rect l="0" t="0" r="r" b="b"/>
                    <a:pathLst>
                      <a:path w="116" h="135">
                        <a:moveTo>
                          <a:pt x="116" y="77"/>
                        </a:moveTo>
                        <a:lnTo>
                          <a:pt x="115" y="77"/>
                        </a:lnTo>
                        <a:lnTo>
                          <a:pt x="115" y="76"/>
                        </a:lnTo>
                        <a:lnTo>
                          <a:pt x="114" y="76"/>
                        </a:lnTo>
                        <a:lnTo>
                          <a:pt x="113" y="77"/>
                        </a:lnTo>
                        <a:lnTo>
                          <a:pt x="112" y="78"/>
                        </a:lnTo>
                        <a:lnTo>
                          <a:pt x="111" y="79"/>
                        </a:lnTo>
                        <a:lnTo>
                          <a:pt x="109" y="80"/>
                        </a:lnTo>
                        <a:lnTo>
                          <a:pt x="108" y="81"/>
                        </a:lnTo>
                        <a:lnTo>
                          <a:pt x="106" y="83"/>
                        </a:lnTo>
                        <a:lnTo>
                          <a:pt x="105" y="84"/>
                        </a:lnTo>
                        <a:lnTo>
                          <a:pt x="104" y="85"/>
                        </a:lnTo>
                        <a:lnTo>
                          <a:pt x="103" y="87"/>
                        </a:lnTo>
                        <a:lnTo>
                          <a:pt x="102" y="88"/>
                        </a:lnTo>
                        <a:lnTo>
                          <a:pt x="101" y="89"/>
                        </a:lnTo>
                        <a:lnTo>
                          <a:pt x="100" y="91"/>
                        </a:lnTo>
                        <a:lnTo>
                          <a:pt x="99" y="92"/>
                        </a:lnTo>
                        <a:lnTo>
                          <a:pt x="99" y="93"/>
                        </a:lnTo>
                        <a:lnTo>
                          <a:pt x="99" y="94"/>
                        </a:lnTo>
                        <a:lnTo>
                          <a:pt x="98" y="94"/>
                        </a:lnTo>
                        <a:lnTo>
                          <a:pt x="98" y="95"/>
                        </a:lnTo>
                        <a:lnTo>
                          <a:pt x="98" y="97"/>
                        </a:lnTo>
                        <a:lnTo>
                          <a:pt x="98" y="98"/>
                        </a:lnTo>
                        <a:lnTo>
                          <a:pt x="98" y="99"/>
                        </a:lnTo>
                        <a:lnTo>
                          <a:pt x="98" y="100"/>
                        </a:lnTo>
                        <a:lnTo>
                          <a:pt x="98" y="101"/>
                        </a:lnTo>
                        <a:lnTo>
                          <a:pt x="99" y="103"/>
                        </a:lnTo>
                        <a:lnTo>
                          <a:pt x="99" y="104"/>
                        </a:lnTo>
                        <a:lnTo>
                          <a:pt x="100" y="105"/>
                        </a:lnTo>
                        <a:lnTo>
                          <a:pt x="101" y="106"/>
                        </a:lnTo>
                        <a:lnTo>
                          <a:pt x="103" y="107"/>
                        </a:lnTo>
                        <a:lnTo>
                          <a:pt x="105" y="109"/>
                        </a:lnTo>
                        <a:lnTo>
                          <a:pt x="106" y="110"/>
                        </a:lnTo>
                        <a:lnTo>
                          <a:pt x="107" y="111"/>
                        </a:lnTo>
                        <a:lnTo>
                          <a:pt x="107" y="113"/>
                        </a:lnTo>
                        <a:lnTo>
                          <a:pt x="108" y="114"/>
                        </a:lnTo>
                        <a:lnTo>
                          <a:pt x="109" y="115"/>
                        </a:lnTo>
                        <a:lnTo>
                          <a:pt x="109" y="116"/>
                        </a:lnTo>
                        <a:lnTo>
                          <a:pt x="110" y="118"/>
                        </a:lnTo>
                        <a:lnTo>
                          <a:pt x="110" y="119"/>
                        </a:lnTo>
                        <a:lnTo>
                          <a:pt x="110" y="120"/>
                        </a:lnTo>
                        <a:lnTo>
                          <a:pt x="109" y="121"/>
                        </a:lnTo>
                        <a:lnTo>
                          <a:pt x="109" y="122"/>
                        </a:lnTo>
                        <a:lnTo>
                          <a:pt x="108" y="123"/>
                        </a:lnTo>
                        <a:lnTo>
                          <a:pt x="108" y="124"/>
                        </a:lnTo>
                        <a:lnTo>
                          <a:pt x="107" y="124"/>
                        </a:lnTo>
                        <a:lnTo>
                          <a:pt x="106" y="125"/>
                        </a:lnTo>
                        <a:lnTo>
                          <a:pt x="105" y="126"/>
                        </a:lnTo>
                        <a:lnTo>
                          <a:pt x="105" y="126"/>
                        </a:lnTo>
                        <a:lnTo>
                          <a:pt x="104" y="127"/>
                        </a:lnTo>
                        <a:lnTo>
                          <a:pt x="103" y="127"/>
                        </a:lnTo>
                        <a:lnTo>
                          <a:pt x="102" y="128"/>
                        </a:lnTo>
                        <a:lnTo>
                          <a:pt x="100" y="128"/>
                        </a:lnTo>
                        <a:lnTo>
                          <a:pt x="99" y="128"/>
                        </a:lnTo>
                        <a:lnTo>
                          <a:pt x="98" y="128"/>
                        </a:lnTo>
                        <a:lnTo>
                          <a:pt x="96" y="128"/>
                        </a:lnTo>
                        <a:lnTo>
                          <a:pt x="95" y="128"/>
                        </a:lnTo>
                        <a:lnTo>
                          <a:pt x="94" y="126"/>
                        </a:lnTo>
                        <a:lnTo>
                          <a:pt x="94" y="125"/>
                        </a:lnTo>
                        <a:lnTo>
                          <a:pt x="93" y="123"/>
                        </a:lnTo>
                        <a:lnTo>
                          <a:pt x="93" y="121"/>
                        </a:lnTo>
                        <a:lnTo>
                          <a:pt x="92" y="120"/>
                        </a:lnTo>
                        <a:lnTo>
                          <a:pt x="91" y="118"/>
                        </a:lnTo>
                        <a:lnTo>
                          <a:pt x="90" y="117"/>
                        </a:lnTo>
                        <a:lnTo>
                          <a:pt x="89" y="116"/>
                        </a:lnTo>
                        <a:lnTo>
                          <a:pt x="88" y="115"/>
                        </a:lnTo>
                        <a:lnTo>
                          <a:pt x="87" y="114"/>
                        </a:lnTo>
                        <a:lnTo>
                          <a:pt x="85" y="113"/>
                        </a:lnTo>
                        <a:lnTo>
                          <a:pt x="84" y="113"/>
                        </a:lnTo>
                        <a:lnTo>
                          <a:pt x="82" y="112"/>
                        </a:lnTo>
                        <a:lnTo>
                          <a:pt x="80" y="112"/>
                        </a:lnTo>
                        <a:lnTo>
                          <a:pt x="78" y="112"/>
                        </a:lnTo>
                        <a:lnTo>
                          <a:pt x="76" y="111"/>
                        </a:lnTo>
                        <a:lnTo>
                          <a:pt x="76" y="112"/>
                        </a:lnTo>
                        <a:lnTo>
                          <a:pt x="75" y="112"/>
                        </a:lnTo>
                        <a:lnTo>
                          <a:pt x="75" y="112"/>
                        </a:lnTo>
                        <a:lnTo>
                          <a:pt x="74" y="113"/>
                        </a:lnTo>
                        <a:lnTo>
                          <a:pt x="73" y="113"/>
                        </a:lnTo>
                        <a:lnTo>
                          <a:pt x="72" y="114"/>
                        </a:lnTo>
                        <a:lnTo>
                          <a:pt x="71" y="115"/>
                        </a:lnTo>
                        <a:lnTo>
                          <a:pt x="71" y="116"/>
                        </a:lnTo>
                        <a:lnTo>
                          <a:pt x="70" y="118"/>
                        </a:lnTo>
                        <a:lnTo>
                          <a:pt x="70" y="119"/>
                        </a:lnTo>
                        <a:lnTo>
                          <a:pt x="69" y="120"/>
                        </a:lnTo>
                        <a:lnTo>
                          <a:pt x="68" y="121"/>
                        </a:lnTo>
                        <a:lnTo>
                          <a:pt x="68" y="122"/>
                        </a:lnTo>
                        <a:lnTo>
                          <a:pt x="67" y="123"/>
                        </a:lnTo>
                        <a:lnTo>
                          <a:pt x="66" y="124"/>
                        </a:lnTo>
                        <a:lnTo>
                          <a:pt x="65" y="125"/>
                        </a:lnTo>
                        <a:lnTo>
                          <a:pt x="64" y="126"/>
                        </a:lnTo>
                        <a:lnTo>
                          <a:pt x="64" y="126"/>
                        </a:lnTo>
                        <a:lnTo>
                          <a:pt x="63" y="126"/>
                        </a:lnTo>
                        <a:lnTo>
                          <a:pt x="53" y="126"/>
                        </a:lnTo>
                        <a:lnTo>
                          <a:pt x="53" y="126"/>
                        </a:lnTo>
                        <a:lnTo>
                          <a:pt x="52" y="127"/>
                        </a:lnTo>
                        <a:lnTo>
                          <a:pt x="52" y="127"/>
                        </a:lnTo>
                        <a:lnTo>
                          <a:pt x="51" y="127"/>
                        </a:lnTo>
                        <a:lnTo>
                          <a:pt x="50" y="128"/>
                        </a:lnTo>
                        <a:lnTo>
                          <a:pt x="50" y="128"/>
                        </a:lnTo>
                        <a:lnTo>
                          <a:pt x="49" y="129"/>
                        </a:lnTo>
                        <a:lnTo>
                          <a:pt x="48" y="130"/>
                        </a:lnTo>
                        <a:lnTo>
                          <a:pt x="47" y="131"/>
                        </a:lnTo>
                        <a:lnTo>
                          <a:pt x="47" y="132"/>
                        </a:lnTo>
                        <a:lnTo>
                          <a:pt x="46" y="133"/>
                        </a:lnTo>
                        <a:lnTo>
                          <a:pt x="45" y="133"/>
                        </a:lnTo>
                        <a:lnTo>
                          <a:pt x="44" y="134"/>
                        </a:lnTo>
                        <a:lnTo>
                          <a:pt x="44" y="135"/>
                        </a:lnTo>
                        <a:lnTo>
                          <a:pt x="44" y="135"/>
                        </a:lnTo>
                        <a:lnTo>
                          <a:pt x="43" y="135"/>
                        </a:lnTo>
                        <a:lnTo>
                          <a:pt x="43" y="135"/>
                        </a:lnTo>
                        <a:lnTo>
                          <a:pt x="43" y="135"/>
                        </a:lnTo>
                        <a:lnTo>
                          <a:pt x="43" y="135"/>
                        </a:lnTo>
                        <a:lnTo>
                          <a:pt x="42" y="135"/>
                        </a:lnTo>
                        <a:lnTo>
                          <a:pt x="42" y="135"/>
                        </a:lnTo>
                        <a:lnTo>
                          <a:pt x="42" y="135"/>
                        </a:lnTo>
                        <a:lnTo>
                          <a:pt x="41" y="135"/>
                        </a:lnTo>
                        <a:lnTo>
                          <a:pt x="41" y="133"/>
                        </a:lnTo>
                        <a:lnTo>
                          <a:pt x="41" y="131"/>
                        </a:lnTo>
                        <a:lnTo>
                          <a:pt x="41" y="130"/>
                        </a:lnTo>
                        <a:lnTo>
                          <a:pt x="41" y="128"/>
                        </a:lnTo>
                        <a:lnTo>
                          <a:pt x="42" y="128"/>
                        </a:lnTo>
                        <a:lnTo>
                          <a:pt x="41" y="127"/>
                        </a:lnTo>
                        <a:lnTo>
                          <a:pt x="41" y="127"/>
                        </a:lnTo>
                        <a:lnTo>
                          <a:pt x="41" y="127"/>
                        </a:lnTo>
                        <a:lnTo>
                          <a:pt x="41" y="127"/>
                        </a:lnTo>
                        <a:lnTo>
                          <a:pt x="40" y="126"/>
                        </a:lnTo>
                        <a:lnTo>
                          <a:pt x="40" y="126"/>
                        </a:lnTo>
                        <a:lnTo>
                          <a:pt x="40" y="126"/>
                        </a:lnTo>
                        <a:lnTo>
                          <a:pt x="39" y="125"/>
                        </a:lnTo>
                        <a:lnTo>
                          <a:pt x="38" y="125"/>
                        </a:lnTo>
                        <a:lnTo>
                          <a:pt x="37" y="124"/>
                        </a:lnTo>
                        <a:lnTo>
                          <a:pt x="35" y="123"/>
                        </a:lnTo>
                        <a:lnTo>
                          <a:pt x="34" y="122"/>
                        </a:lnTo>
                        <a:lnTo>
                          <a:pt x="33" y="122"/>
                        </a:lnTo>
                        <a:lnTo>
                          <a:pt x="32" y="121"/>
                        </a:lnTo>
                        <a:lnTo>
                          <a:pt x="30" y="121"/>
                        </a:lnTo>
                        <a:lnTo>
                          <a:pt x="29" y="120"/>
                        </a:lnTo>
                        <a:lnTo>
                          <a:pt x="27" y="120"/>
                        </a:lnTo>
                        <a:lnTo>
                          <a:pt x="24" y="119"/>
                        </a:lnTo>
                        <a:lnTo>
                          <a:pt x="21" y="119"/>
                        </a:lnTo>
                        <a:lnTo>
                          <a:pt x="18" y="118"/>
                        </a:lnTo>
                        <a:lnTo>
                          <a:pt x="18" y="117"/>
                        </a:lnTo>
                        <a:lnTo>
                          <a:pt x="19" y="116"/>
                        </a:lnTo>
                        <a:lnTo>
                          <a:pt x="19" y="115"/>
                        </a:lnTo>
                        <a:lnTo>
                          <a:pt x="19" y="115"/>
                        </a:lnTo>
                        <a:lnTo>
                          <a:pt x="19" y="114"/>
                        </a:lnTo>
                        <a:lnTo>
                          <a:pt x="19" y="113"/>
                        </a:lnTo>
                        <a:lnTo>
                          <a:pt x="19" y="112"/>
                        </a:lnTo>
                        <a:lnTo>
                          <a:pt x="19" y="112"/>
                        </a:lnTo>
                        <a:lnTo>
                          <a:pt x="19" y="111"/>
                        </a:lnTo>
                        <a:lnTo>
                          <a:pt x="19" y="110"/>
                        </a:lnTo>
                        <a:lnTo>
                          <a:pt x="19" y="109"/>
                        </a:lnTo>
                        <a:lnTo>
                          <a:pt x="18" y="109"/>
                        </a:lnTo>
                        <a:lnTo>
                          <a:pt x="18" y="108"/>
                        </a:lnTo>
                        <a:lnTo>
                          <a:pt x="17" y="108"/>
                        </a:lnTo>
                        <a:lnTo>
                          <a:pt x="17" y="107"/>
                        </a:lnTo>
                        <a:lnTo>
                          <a:pt x="16" y="106"/>
                        </a:lnTo>
                        <a:lnTo>
                          <a:pt x="16" y="106"/>
                        </a:lnTo>
                        <a:lnTo>
                          <a:pt x="15" y="106"/>
                        </a:lnTo>
                        <a:lnTo>
                          <a:pt x="15" y="106"/>
                        </a:lnTo>
                        <a:lnTo>
                          <a:pt x="15" y="106"/>
                        </a:lnTo>
                        <a:lnTo>
                          <a:pt x="15" y="105"/>
                        </a:lnTo>
                        <a:lnTo>
                          <a:pt x="15" y="105"/>
                        </a:lnTo>
                        <a:lnTo>
                          <a:pt x="15" y="104"/>
                        </a:lnTo>
                        <a:lnTo>
                          <a:pt x="15" y="103"/>
                        </a:lnTo>
                        <a:lnTo>
                          <a:pt x="15" y="103"/>
                        </a:lnTo>
                        <a:lnTo>
                          <a:pt x="14" y="102"/>
                        </a:lnTo>
                        <a:lnTo>
                          <a:pt x="14" y="102"/>
                        </a:lnTo>
                        <a:lnTo>
                          <a:pt x="14" y="102"/>
                        </a:lnTo>
                        <a:lnTo>
                          <a:pt x="13" y="101"/>
                        </a:lnTo>
                        <a:lnTo>
                          <a:pt x="12" y="100"/>
                        </a:lnTo>
                        <a:lnTo>
                          <a:pt x="12" y="100"/>
                        </a:lnTo>
                        <a:lnTo>
                          <a:pt x="12" y="99"/>
                        </a:lnTo>
                        <a:lnTo>
                          <a:pt x="12" y="99"/>
                        </a:lnTo>
                        <a:lnTo>
                          <a:pt x="11" y="98"/>
                        </a:lnTo>
                        <a:lnTo>
                          <a:pt x="12" y="98"/>
                        </a:lnTo>
                        <a:lnTo>
                          <a:pt x="12" y="98"/>
                        </a:lnTo>
                        <a:lnTo>
                          <a:pt x="13" y="98"/>
                        </a:lnTo>
                        <a:lnTo>
                          <a:pt x="13" y="97"/>
                        </a:lnTo>
                        <a:lnTo>
                          <a:pt x="14" y="97"/>
                        </a:lnTo>
                        <a:lnTo>
                          <a:pt x="14" y="96"/>
                        </a:lnTo>
                        <a:lnTo>
                          <a:pt x="14" y="96"/>
                        </a:lnTo>
                        <a:lnTo>
                          <a:pt x="14" y="95"/>
                        </a:lnTo>
                        <a:lnTo>
                          <a:pt x="15" y="94"/>
                        </a:lnTo>
                        <a:lnTo>
                          <a:pt x="15" y="94"/>
                        </a:lnTo>
                        <a:lnTo>
                          <a:pt x="15" y="93"/>
                        </a:lnTo>
                        <a:lnTo>
                          <a:pt x="14" y="92"/>
                        </a:lnTo>
                        <a:lnTo>
                          <a:pt x="14" y="90"/>
                        </a:lnTo>
                        <a:lnTo>
                          <a:pt x="14" y="89"/>
                        </a:lnTo>
                        <a:lnTo>
                          <a:pt x="14" y="88"/>
                        </a:lnTo>
                        <a:lnTo>
                          <a:pt x="14" y="87"/>
                        </a:lnTo>
                        <a:lnTo>
                          <a:pt x="15" y="87"/>
                        </a:lnTo>
                        <a:lnTo>
                          <a:pt x="15" y="85"/>
                        </a:lnTo>
                        <a:lnTo>
                          <a:pt x="15" y="84"/>
                        </a:lnTo>
                        <a:lnTo>
                          <a:pt x="16" y="83"/>
                        </a:lnTo>
                        <a:lnTo>
                          <a:pt x="16" y="82"/>
                        </a:lnTo>
                        <a:lnTo>
                          <a:pt x="16" y="81"/>
                        </a:lnTo>
                        <a:lnTo>
                          <a:pt x="17" y="80"/>
                        </a:lnTo>
                        <a:lnTo>
                          <a:pt x="17" y="79"/>
                        </a:lnTo>
                        <a:lnTo>
                          <a:pt x="18" y="78"/>
                        </a:lnTo>
                        <a:lnTo>
                          <a:pt x="18" y="76"/>
                        </a:lnTo>
                        <a:lnTo>
                          <a:pt x="18" y="75"/>
                        </a:lnTo>
                        <a:lnTo>
                          <a:pt x="18" y="73"/>
                        </a:lnTo>
                        <a:lnTo>
                          <a:pt x="18" y="72"/>
                        </a:lnTo>
                        <a:lnTo>
                          <a:pt x="19" y="70"/>
                        </a:lnTo>
                        <a:lnTo>
                          <a:pt x="18" y="68"/>
                        </a:lnTo>
                        <a:lnTo>
                          <a:pt x="18" y="67"/>
                        </a:lnTo>
                        <a:lnTo>
                          <a:pt x="18" y="65"/>
                        </a:lnTo>
                        <a:lnTo>
                          <a:pt x="17" y="64"/>
                        </a:lnTo>
                        <a:lnTo>
                          <a:pt x="16" y="64"/>
                        </a:lnTo>
                        <a:lnTo>
                          <a:pt x="16" y="64"/>
                        </a:lnTo>
                        <a:lnTo>
                          <a:pt x="15" y="63"/>
                        </a:lnTo>
                        <a:lnTo>
                          <a:pt x="14" y="62"/>
                        </a:lnTo>
                        <a:lnTo>
                          <a:pt x="14" y="61"/>
                        </a:lnTo>
                        <a:lnTo>
                          <a:pt x="13" y="60"/>
                        </a:lnTo>
                        <a:lnTo>
                          <a:pt x="12" y="59"/>
                        </a:lnTo>
                        <a:lnTo>
                          <a:pt x="12" y="59"/>
                        </a:lnTo>
                        <a:lnTo>
                          <a:pt x="11" y="58"/>
                        </a:lnTo>
                        <a:lnTo>
                          <a:pt x="10" y="58"/>
                        </a:lnTo>
                        <a:lnTo>
                          <a:pt x="9" y="57"/>
                        </a:lnTo>
                        <a:lnTo>
                          <a:pt x="9" y="57"/>
                        </a:lnTo>
                        <a:lnTo>
                          <a:pt x="7" y="57"/>
                        </a:lnTo>
                        <a:lnTo>
                          <a:pt x="6" y="56"/>
                        </a:lnTo>
                        <a:lnTo>
                          <a:pt x="6" y="56"/>
                        </a:lnTo>
                        <a:lnTo>
                          <a:pt x="6" y="56"/>
                        </a:lnTo>
                        <a:lnTo>
                          <a:pt x="6" y="55"/>
                        </a:lnTo>
                        <a:lnTo>
                          <a:pt x="6" y="55"/>
                        </a:lnTo>
                        <a:lnTo>
                          <a:pt x="6" y="55"/>
                        </a:lnTo>
                        <a:lnTo>
                          <a:pt x="5" y="55"/>
                        </a:lnTo>
                        <a:lnTo>
                          <a:pt x="5" y="55"/>
                        </a:lnTo>
                        <a:lnTo>
                          <a:pt x="5" y="55"/>
                        </a:lnTo>
                        <a:lnTo>
                          <a:pt x="5" y="54"/>
                        </a:lnTo>
                        <a:lnTo>
                          <a:pt x="5" y="53"/>
                        </a:lnTo>
                        <a:lnTo>
                          <a:pt x="5" y="52"/>
                        </a:lnTo>
                        <a:lnTo>
                          <a:pt x="5" y="52"/>
                        </a:lnTo>
                        <a:lnTo>
                          <a:pt x="5" y="51"/>
                        </a:lnTo>
                        <a:lnTo>
                          <a:pt x="4" y="51"/>
                        </a:lnTo>
                        <a:lnTo>
                          <a:pt x="4" y="50"/>
                        </a:lnTo>
                        <a:lnTo>
                          <a:pt x="4" y="50"/>
                        </a:lnTo>
                        <a:lnTo>
                          <a:pt x="3" y="50"/>
                        </a:lnTo>
                        <a:lnTo>
                          <a:pt x="3" y="49"/>
                        </a:lnTo>
                        <a:lnTo>
                          <a:pt x="2" y="49"/>
                        </a:lnTo>
                        <a:lnTo>
                          <a:pt x="1" y="49"/>
                        </a:lnTo>
                        <a:lnTo>
                          <a:pt x="0" y="48"/>
                        </a:lnTo>
                        <a:lnTo>
                          <a:pt x="0" y="48"/>
                        </a:lnTo>
                        <a:lnTo>
                          <a:pt x="0" y="47"/>
                        </a:lnTo>
                        <a:lnTo>
                          <a:pt x="0" y="46"/>
                        </a:lnTo>
                        <a:lnTo>
                          <a:pt x="0" y="46"/>
                        </a:lnTo>
                        <a:lnTo>
                          <a:pt x="0" y="45"/>
                        </a:lnTo>
                        <a:lnTo>
                          <a:pt x="0" y="44"/>
                        </a:lnTo>
                        <a:lnTo>
                          <a:pt x="1" y="43"/>
                        </a:lnTo>
                        <a:lnTo>
                          <a:pt x="1" y="43"/>
                        </a:lnTo>
                        <a:lnTo>
                          <a:pt x="1" y="42"/>
                        </a:lnTo>
                        <a:lnTo>
                          <a:pt x="2" y="41"/>
                        </a:lnTo>
                        <a:lnTo>
                          <a:pt x="2" y="41"/>
                        </a:lnTo>
                        <a:lnTo>
                          <a:pt x="3" y="40"/>
                        </a:lnTo>
                        <a:lnTo>
                          <a:pt x="3" y="39"/>
                        </a:lnTo>
                        <a:lnTo>
                          <a:pt x="3" y="39"/>
                        </a:lnTo>
                        <a:lnTo>
                          <a:pt x="3" y="38"/>
                        </a:lnTo>
                        <a:lnTo>
                          <a:pt x="3" y="38"/>
                        </a:lnTo>
                        <a:lnTo>
                          <a:pt x="3" y="37"/>
                        </a:lnTo>
                        <a:lnTo>
                          <a:pt x="3" y="37"/>
                        </a:lnTo>
                        <a:lnTo>
                          <a:pt x="3" y="37"/>
                        </a:lnTo>
                        <a:lnTo>
                          <a:pt x="2" y="36"/>
                        </a:lnTo>
                        <a:lnTo>
                          <a:pt x="2" y="36"/>
                        </a:lnTo>
                        <a:lnTo>
                          <a:pt x="2" y="35"/>
                        </a:lnTo>
                        <a:lnTo>
                          <a:pt x="1" y="35"/>
                        </a:lnTo>
                        <a:lnTo>
                          <a:pt x="2" y="34"/>
                        </a:lnTo>
                        <a:lnTo>
                          <a:pt x="2" y="34"/>
                        </a:lnTo>
                        <a:lnTo>
                          <a:pt x="3" y="33"/>
                        </a:lnTo>
                        <a:lnTo>
                          <a:pt x="4" y="33"/>
                        </a:lnTo>
                        <a:lnTo>
                          <a:pt x="4" y="33"/>
                        </a:lnTo>
                        <a:lnTo>
                          <a:pt x="4" y="32"/>
                        </a:lnTo>
                        <a:lnTo>
                          <a:pt x="5" y="32"/>
                        </a:lnTo>
                        <a:lnTo>
                          <a:pt x="6" y="31"/>
                        </a:lnTo>
                        <a:lnTo>
                          <a:pt x="6" y="31"/>
                        </a:lnTo>
                        <a:lnTo>
                          <a:pt x="7" y="31"/>
                        </a:lnTo>
                        <a:lnTo>
                          <a:pt x="8" y="30"/>
                        </a:lnTo>
                        <a:lnTo>
                          <a:pt x="9" y="30"/>
                        </a:lnTo>
                        <a:lnTo>
                          <a:pt x="10" y="30"/>
                        </a:lnTo>
                        <a:lnTo>
                          <a:pt x="10" y="30"/>
                        </a:lnTo>
                        <a:lnTo>
                          <a:pt x="11" y="30"/>
                        </a:lnTo>
                        <a:lnTo>
                          <a:pt x="12" y="30"/>
                        </a:lnTo>
                        <a:lnTo>
                          <a:pt x="13" y="31"/>
                        </a:lnTo>
                        <a:lnTo>
                          <a:pt x="13" y="31"/>
                        </a:lnTo>
                        <a:lnTo>
                          <a:pt x="14" y="31"/>
                        </a:lnTo>
                        <a:lnTo>
                          <a:pt x="14" y="32"/>
                        </a:lnTo>
                        <a:lnTo>
                          <a:pt x="15" y="32"/>
                        </a:lnTo>
                        <a:lnTo>
                          <a:pt x="16" y="33"/>
                        </a:lnTo>
                        <a:lnTo>
                          <a:pt x="16" y="33"/>
                        </a:lnTo>
                        <a:lnTo>
                          <a:pt x="17" y="32"/>
                        </a:lnTo>
                        <a:lnTo>
                          <a:pt x="17" y="31"/>
                        </a:lnTo>
                        <a:lnTo>
                          <a:pt x="17" y="31"/>
                        </a:lnTo>
                        <a:lnTo>
                          <a:pt x="18" y="30"/>
                        </a:lnTo>
                        <a:lnTo>
                          <a:pt x="18" y="29"/>
                        </a:lnTo>
                        <a:lnTo>
                          <a:pt x="19" y="29"/>
                        </a:lnTo>
                        <a:lnTo>
                          <a:pt x="20" y="28"/>
                        </a:lnTo>
                        <a:lnTo>
                          <a:pt x="20" y="27"/>
                        </a:lnTo>
                        <a:lnTo>
                          <a:pt x="21" y="26"/>
                        </a:lnTo>
                        <a:lnTo>
                          <a:pt x="23" y="25"/>
                        </a:lnTo>
                        <a:lnTo>
                          <a:pt x="24" y="24"/>
                        </a:lnTo>
                        <a:lnTo>
                          <a:pt x="26" y="24"/>
                        </a:lnTo>
                        <a:lnTo>
                          <a:pt x="27" y="23"/>
                        </a:lnTo>
                        <a:lnTo>
                          <a:pt x="29" y="22"/>
                        </a:lnTo>
                        <a:lnTo>
                          <a:pt x="30" y="21"/>
                        </a:lnTo>
                        <a:lnTo>
                          <a:pt x="32" y="20"/>
                        </a:lnTo>
                        <a:lnTo>
                          <a:pt x="32" y="19"/>
                        </a:lnTo>
                        <a:lnTo>
                          <a:pt x="33" y="19"/>
                        </a:lnTo>
                        <a:lnTo>
                          <a:pt x="33" y="18"/>
                        </a:lnTo>
                        <a:lnTo>
                          <a:pt x="34" y="17"/>
                        </a:lnTo>
                        <a:lnTo>
                          <a:pt x="34" y="16"/>
                        </a:lnTo>
                        <a:lnTo>
                          <a:pt x="34" y="15"/>
                        </a:lnTo>
                        <a:lnTo>
                          <a:pt x="35" y="14"/>
                        </a:lnTo>
                        <a:lnTo>
                          <a:pt x="35" y="13"/>
                        </a:lnTo>
                        <a:lnTo>
                          <a:pt x="36" y="13"/>
                        </a:lnTo>
                        <a:lnTo>
                          <a:pt x="37" y="13"/>
                        </a:lnTo>
                        <a:lnTo>
                          <a:pt x="38" y="13"/>
                        </a:lnTo>
                        <a:lnTo>
                          <a:pt x="40" y="12"/>
                        </a:lnTo>
                        <a:lnTo>
                          <a:pt x="41" y="12"/>
                        </a:lnTo>
                        <a:lnTo>
                          <a:pt x="42" y="11"/>
                        </a:lnTo>
                        <a:lnTo>
                          <a:pt x="43" y="11"/>
                        </a:lnTo>
                        <a:lnTo>
                          <a:pt x="44" y="10"/>
                        </a:lnTo>
                        <a:lnTo>
                          <a:pt x="44" y="10"/>
                        </a:lnTo>
                        <a:lnTo>
                          <a:pt x="45" y="9"/>
                        </a:lnTo>
                        <a:lnTo>
                          <a:pt x="46" y="8"/>
                        </a:lnTo>
                        <a:lnTo>
                          <a:pt x="46" y="7"/>
                        </a:lnTo>
                        <a:lnTo>
                          <a:pt x="47" y="6"/>
                        </a:lnTo>
                        <a:lnTo>
                          <a:pt x="47" y="5"/>
                        </a:lnTo>
                        <a:lnTo>
                          <a:pt x="48" y="4"/>
                        </a:lnTo>
                        <a:lnTo>
                          <a:pt x="48" y="3"/>
                        </a:lnTo>
                        <a:lnTo>
                          <a:pt x="49" y="3"/>
                        </a:lnTo>
                        <a:lnTo>
                          <a:pt x="50" y="3"/>
                        </a:lnTo>
                        <a:lnTo>
                          <a:pt x="51" y="3"/>
                        </a:lnTo>
                        <a:lnTo>
                          <a:pt x="52" y="3"/>
                        </a:lnTo>
                        <a:lnTo>
                          <a:pt x="53" y="3"/>
                        </a:lnTo>
                        <a:lnTo>
                          <a:pt x="54" y="3"/>
                        </a:lnTo>
                        <a:lnTo>
                          <a:pt x="55" y="2"/>
                        </a:lnTo>
                        <a:lnTo>
                          <a:pt x="55" y="2"/>
                        </a:lnTo>
                        <a:lnTo>
                          <a:pt x="57" y="1"/>
                        </a:lnTo>
                        <a:lnTo>
                          <a:pt x="57" y="1"/>
                        </a:lnTo>
                        <a:lnTo>
                          <a:pt x="58" y="1"/>
                        </a:lnTo>
                        <a:lnTo>
                          <a:pt x="59" y="0"/>
                        </a:lnTo>
                        <a:lnTo>
                          <a:pt x="59" y="0"/>
                        </a:lnTo>
                        <a:lnTo>
                          <a:pt x="60" y="0"/>
                        </a:lnTo>
                        <a:lnTo>
                          <a:pt x="61" y="0"/>
                        </a:lnTo>
                        <a:lnTo>
                          <a:pt x="61" y="2"/>
                        </a:lnTo>
                        <a:lnTo>
                          <a:pt x="61" y="3"/>
                        </a:lnTo>
                        <a:lnTo>
                          <a:pt x="61" y="4"/>
                        </a:lnTo>
                        <a:lnTo>
                          <a:pt x="61" y="5"/>
                        </a:lnTo>
                        <a:lnTo>
                          <a:pt x="61" y="6"/>
                        </a:lnTo>
                        <a:lnTo>
                          <a:pt x="61" y="7"/>
                        </a:lnTo>
                        <a:lnTo>
                          <a:pt x="61" y="8"/>
                        </a:lnTo>
                        <a:lnTo>
                          <a:pt x="60" y="8"/>
                        </a:lnTo>
                        <a:lnTo>
                          <a:pt x="60" y="9"/>
                        </a:lnTo>
                        <a:lnTo>
                          <a:pt x="59" y="9"/>
                        </a:lnTo>
                        <a:lnTo>
                          <a:pt x="59" y="10"/>
                        </a:lnTo>
                        <a:lnTo>
                          <a:pt x="58" y="10"/>
                        </a:lnTo>
                        <a:lnTo>
                          <a:pt x="57" y="10"/>
                        </a:lnTo>
                        <a:lnTo>
                          <a:pt x="56" y="10"/>
                        </a:lnTo>
                        <a:lnTo>
                          <a:pt x="55" y="10"/>
                        </a:lnTo>
                        <a:lnTo>
                          <a:pt x="55" y="10"/>
                        </a:lnTo>
                        <a:lnTo>
                          <a:pt x="55" y="11"/>
                        </a:lnTo>
                        <a:lnTo>
                          <a:pt x="55" y="12"/>
                        </a:lnTo>
                        <a:lnTo>
                          <a:pt x="55" y="13"/>
                        </a:lnTo>
                        <a:lnTo>
                          <a:pt x="56" y="14"/>
                        </a:lnTo>
                        <a:lnTo>
                          <a:pt x="56" y="14"/>
                        </a:lnTo>
                        <a:lnTo>
                          <a:pt x="57" y="15"/>
                        </a:lnTo>
                        <a:lnTo>
                          <a:pt x="58" y="16"/>
                        </a:lnTo>
                        <a:lnTo>
                          <a:pt x="58" y="16"/>
                        </a:lnTo>
                        <a:lnTo>
                          <a:pt x="59" y="17"/>
                        </a:lnTo>
                        <a:lnTo>
                          <a:pt x="60" y="17"/>
                        </a:lnTo>
                        <a:lnTo>
                          <a:pt x="61" y="18"/>
                        </a:lnTo>
                        <a:lnTo>
                          <a:pt x="63" y="19"/>
                        </a:lnTo>
                        <a:lnTo>
                          <a:pt x="65" y="20"/>
                        </a:lnTo>
                        <a:lnTo>
                          <a:pt x="66" y="20"/>
                        </a:lnTo>
                        <a:lnTo>
                          <a:pt x="66" y="21"/>
                        </a:lnTo>
                        <a:lnTo>
                          <a:pt x="68" y="21"/>
                        </a:lnTo>
                        <a:lnTo>
                          <a:pt x="70" y="22"/>
                        </a:lnTo>
                        <a:lnTo>
                          <a:pt x="71" y="23"/>
                        </a:lnTo>
                        <a:lnTo>
                          <a:pt x="72" y="24"/>
                        </a:lnTo>
                        <a:lnTo>
                          <a:pt x="73" y="25"/>
                        </a:lnTo>
                        <a:lnTo>
                          <a:pt x="74" y="25"/>
                        </a:lnTo>
                        <a:lnTo>
                          <a:pt x="75" y="26"/>
                        </a:lnTo>
                        <a:lnTo>
                          <a:pt x="76" y="26"/>
                        </a:lnTo>
                        <a:lnTo>
                          <a:pt x="77" y="26"/>
                        </a:lnTo>
                        <a:lnTo>
                          <a:pt x="78" y="26"/>
                        </a:lnTo>
                        <a:lnTo>
                          <a:pt x="82" y="31"/>
                        </a:lnTo>
                        <a:lnTo>
                          <a:pt x="86" y="35"/>
                        </a:lnTo>
                        <a:lnTo>
                          <a:pt x="90" y="40"/>
                        </a:lnTo>
                        <a:lnTo>
                          <a:pt x="93" y="44"/>
                        </a:lnTo>
                        <a:lnTo>
                          <a:pt x="97" y="49"/>
                        </a:lnTo>
                        <a:lnTo>
                          <a:pt x="101" y="54"/>
                        </a:lnTo>
                        <a:lnTo>
                          <a:pt x="104" y="58"/>
                        </a:lnTo>
                        <a:lnTo>
                          <a:pt x="108" y="63"/>
                        </a:lnTo>
                        <a:lnTo>
                          <a:pt x="115" y="73"/>
                        </a:lnTo>
                        <a:lnTo>
                          <a:pt x="116" y="77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accent1"/>
                    </a:solidFill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algn="ctr" defTabSz="914308">
                      <a:defRPr/>
                    </a:pPr>
                    <a:endParaRPr lang="en-US" sz="900" kern="0" dirty="0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latin typeface="Times New Roman" pitchFamily="18" charset="0"/>
                      <a:cs typeface="Times New Roman" pitchFamily="18" charset="0"/>
                    </a:endParaRPr>
                  </a:p>
                </p:txBody>
              </p:sp>
              <p:sp>
                <p:nvSpPr>
                  <p:cNvPr id="318" name="Freeform 15"/>
                  <p:cNvSpPr>
                    <a:spLocks/>
                  </p:cNvSpPr>
                  <p:nvPr/>
                </p:nvSpPr>
                <p:spPr bwMode="auto">
                  <a:xfrm>
                    <a:off x="3006011" y="1780710"/>
                    <a:ext cx="1040754" cy="723678"/>
                  </a:xfrm>
                  <a:custGeom>
                    <a:avLst/>
                    <a:gdLst/>
                    <a:ahLst/>
                    <a:cxnLst>
                      <a:cxn ang="0">
                        <a:pos x="134" y="44"/>
                      </a:cxn>
                      <a:cxn ang="0">
                        <a:pos x="132" y="48"/>
                      </a:cxn>
                      <a:cxn ang="0">
                        <a:pos x="131" y="53"/>
                      </a:cxn>
                      <a:cxn ang="0">
                        <a:pos x="136" y="54"/>
                      </a:cxn>
                      <a:cxn ang="0">
                        <a:pos x="135" y="60"/>
                      </a:cxn>
                      <a:cxn ang="0">
                        <a:pos x="137" y="67"/>
                      </a:cxn>
                      <a:cxn ang="0">
                        <a:pos x="139" y="74"/>
                      </a:cxn>
                      <a:cxn ang="0">
                        <a:pos x="128" y="71"/>
                      </a:cxn>
                      <a:cxn ang="0">
                        <a:pos x="123" y="67"/>
                      </a:cxn>
                      <a:cxn ang="0">
                        <a:pos x="114" y="68"/>
                      </a:cxn>
                      <a:cxn ang="0">
                        <a:pos x="106" y="65"/>
                      </a:cxn>
                      <a:cxn ang="0">
                        <a:pos x="94" y="59"/>
                      </a:cxn>
                      <a:cxn ang="0">
                        <a:pos x="76" y="56"/>
                      </a:cxn>
                      <a:cxn ang="0">
                        <a:pos x="65" y="49"/>
                      </a:cxn>
                      <a:cxn ang="0">
                        <a:pos x="59" y="51"/>
                      </a:cxn>
                      <a:cxn ang="0">
                        <a:pos x="44" y="54"/>
                      </a:cxn>
                      <a:cxn ang="0">
                        <a:pos x="41" y="60"/>
                      </a:cxn>
                      <a:cxn ang="0">
                        <a:pos x="42" y="65"/>
                      </a:cxn>
                      <a:cxn ang="0">
                        <a:pos x="45" y="73"/>
                      </a:cxn>
                      <a:cxn ang="0">
                        <a:pos x="31" y="85"/>
                      </a:cxn>
                      <a:cxn ang="0">
                        <a:pos x="23" y="85"/>
                      </a:cxn>
                      <a:cxn ang="0">
                        <a:pos x="14" y="89"/>
                      </a:cxn>
                      <a:cxn ang="0">
                        <a:pos x="2" y="89"/>
                      </a:cxn>
                      <a:cxn ang="0">
                        <a:pos x="1" y="72"/>
                      </a:cxn>
                      <a:cxn ang="0">
                        <a:pos x="7" y="68"/>
                      </a:cxn>
                      <a:cxn ang="0">
                        <a:pos x="7" y="59"/>
                      </a:cxn>
                      <a:cxn ang="0">
                        <a:pos x="6" y="55"/>
                      </a:cxn>
                      <a:cxn ang="0">
                        <a:pos x="6" y="50"/>
                      </a:cxn>
                      <a:cxn ang="0">
                        <a:pos x="5" y="44"/>
                      </a:cxn>
                      <a:cxn ang="0">
                        <a:pos x="7" y="39"/>
                      </a:cxn>
                      <a:cxn ang="0">
                        <a:pos x="5" y="29"/>
                      </a:cxn>
                      <a:cxn ang="0">
                        <a:pos x="10" y="23"/>
                      </a:cxn>
                      <a:cxn ang="0">
                        <a:pos x="15" y="21"/>
                      </a:cxn>
                      <a:cxn ang="0">
                        <a:pos x="20" y="18"/>
                      </a:cxn>
                      <a:cxn ang="0">
                        <a:pos x="24" y="17"/>
                      </a:cxn>
                      <a:cxn ang="0">
                        <a:pos x="30" y="15"/>
                      </a:cxn>
                      <a:cxn ang="0">
                        <a:pos x="37" y="13"/>
                      </a:cxn>
                      <a:cxn ang="0">
                        <a:pos x="42" y="8"/>
                      </a:cxn>
                      <a:cxn ang="0">
                        <a:pos x="48" y="3"/>
                      </a:cxn>
                      <a:cxn ang="0">
                        <a:pos x="53" y="0"/>
                      </a:cxn>
                      <a:cxn ang="0">
                        <a:pos x="57" y="1"/>
                      </a:cxn>
                      <a:cxn ang="0">
                        <a:pos x="62" y="3"/>
                      </a:cxn>
                      <a:cxn ang="0">
                        <a:pos x="70" y="6"/>
                      </a:cxn>
                      <a:cxn ang="0">
                        <a:pos x="73" y="7"/>
                      </a:cxn>
                      <a:cxn ang="0">
                        <a:pos x="78" y="3"/>
                      </a:cxn>
                      <a:cxn ang="0">
                        <a:pos x="82" y="1"/>
                      </a:cxn>
                      <a:cxn ang="0">
                        <a:pos x="85" y="5"/>
                      </a:cxn>
                      <a:cxn ang="0">
                        <a:pos x="86" y="12"/>
                      </a:cxn>
                      <a:cxn ang="0">
                        <a:pos x="89" y="19"/>
                      </a:cxn>
                      <a:cxn ang="0">
                        <a:pos x="88" y="30"/>
                      </a:cxn>
                      <a:cxn ang="0">
                        <a:pos x="92" y="37"/>
                      </a:cxn>
                      <a:cxn ang="0">
                        <a:pos x="103" y="36"/>
                      </a:cxn>
                      <a:cxn ang="0">
                        <a:pos x="107" y="33"/>
                      </a:cxn>
                      <a:cxn ang="0">
                        <a:pos x="110" y="31"/>
                      </a:cxn>
                      <a:cxn ang="0">
                        <a:pos x="114" y="41"/>
                      </a:cxn>
                      <a:cxn ang="0">
                        <a:pos x="119" y="42"/>
                      </a:cxn>
                      <a:cxn ang="0">
                        <a:pos x="121" y="38"/>
                      </a:cxn>
                      <a:cxn ang="0">
                        <a:pos x="127" y="38"/>
                      </a:cxn>
                      <a:cxn ang="0">
                        <a:pos x="131" y="41"/>
                      </a:cxn>
                      <a:cxn ang="0">
                        <a:pos x="135" y="40"/>
                      </a:cxn>
                      <a:cxn ang="0">
                        <a:pos x="139" y="39"/>
                      </a:cxn>
                    </a:cxnLst>
                    <a:rect l="0" t="0" r="r" b="b"/>
                    <a:pathLst>
                      <a:path w="139" h="90">
                        <a:moveTo>
                          <a:pt x="139" y="40"/>
                        </a:moveTo>
                        <a:lnTo>
                          <a:pt x="139" y="40"/>
                        </a:lnTo>
                        <a:lnTo>
                          <a:pt x="139" y="40"/>
                        </a:lnTo>
                        <a:lnTo>
                          <a:pt x="139" y="41"/>
                        </a:lnTo>
                        <a:lnTo>
                          <a:pt x="139" y="41"/>
                        </a:lnTo>
                        <a:lnTo>
                          <a:pt x="138" y="41"/>
                        </a:lnTo>
                        <a:lnTo>
                          <a:pt x="137" y="41"/>
                        </a:lnTo>
                        <a:lnTo>
                          <a:pt x="136" y="42"/>
                        </a:lnTo>
                        <a:lnTo>
                          <a:pt x="135" y="42"/>
                        </a:lnTo>
                        <a:lnTo>
                          <a:pt x="135" y="43"/>
                        </a:lnTo>
                        <a:lnTo>
                          <a:pt x="134" y="43"/>
                        </a:lnTo>
                        <a:lnTo>
                          <a:pt x="134" y="44"/>
                        </a:lnTo>
                        <a:lnTo>
                          <a:pt x="134" y="44"/>
                        </a:lnTo>
                        <a:lnTo>
                          <a:pt x="133" y="44"/>
                        </a:lnTo>
                        <a:lnTo>
                          <a:pt x="133" y="44"/>
                        </a:lnTo>
                        <a:lnTo>
                          <a:pt x="133" y="45"/>
                        </a:lnTo>
                        <a:lnTo>
                          <a:pt x="132" y="45"/>
                        </a:lnTo>
                        <a:lnTo>
                          <a:pt x="132" y="45"/>
                        </a:lnTo>
                        <a:lnTo>
                          <a:pt x="132" y="46"/>
                        </a:lnTo>
                        <a:lnTo>
                          <a:pt x="132" y="46"/>
                        </a:lnTo>
                        <a:lnTo>
                          <a:pt x="132" y="47"/>
                        </a:lnTo>
                        <a:lnTo>
                          <a:pt x="132" y="47"/>
                        </a:lnTo>
                        <a:lnTo>
                          <a:pt x="132" y="48"/>
                        </a:lnTo>
                        <a:lnTo>
                          <a:pt x="132" y="48"/>
                        </a:lnTo>
                        <a:lnTo>
                          <a:pt x="132" y="48"/>
                        </a:lnTo>
                        <a:lnTo>
                          <a:pt x="131" y="48"/>
                        </a:lnTo>
                        <a:lnTo>
                          <a:pt x="131" y="48"/>
                        </a:lnTo>
                        <a:lnTo>
                          <a:pt x="131" y="48"/>
                        </a:lnTo>
                        <a:lnTo>
                          <a:pt x="131" y="49"/>
                        </a:lnTo>
                        <a:lnTo>
                          <a:pt x="130" y="49"/>
                        </a:lnTo>
                        <a:lnTo>
                          <a:pt x="130" y="50"/>
                        </a:lnTo>
                        <a:lnTo>
                          <a:pt x="130" y="50"/>
                        </a:lnTo>
                        <a:lnTo>
                          <a:pt x="131" y="51"/>
                        </a:lnTo>
                        <a:lnTo>
                          <a:pt x="131" y="52"/>
                        </a:lnTo>
                        <a:lnTo>
                          <a:pt x="131" y="52"/>
                        </a:lnTo>
                        <a:lnTo>
                          <a:pt x="131" y="53"/>
                        </a:lnTo>
                        <a:lnTo>
                          <a:pt x="132" y="53"/>
                        </a:lnTo>
                        <a:lnTo>
                          <a:pt x="132" y="53"/>
                        </a:lnTo>
                        <a:lnTo>
                          <a:pt x="132" y="53"/>
                        </a:lnTo>
                        <a:lnTo>
                          <a:pt x="133" y="53"/>
                        </a:lnTo>
                        <a:lnTo>
                          <a:pt x="133" y="53"/>
                        </a:lnTo>
                        <a:lnTo>
                          <a:pt x="134" y="53"/>
                        </a:lnTo>
                        <a:lnTo>
                          <a:pt x="134" y="53"/>
                        </a:lnTo>
                        <a:lnTo>
                          <a:pt x="135" y="53"/>
                        </a:lnTo>
                        <a:lnTo>
                          <a:pt x="135" y="53"/>
                        </a:lnTo>
                        <a:lnTo>
                          <a:pt x="135" y="53"/>
                        </a:lnTo>
                        <a:lnTo>
                          <a:pt x="136" y="53"/>
                        </a:lnTo>
                        <a:lnTo>
                          <a:pt x="136" y="54"/>
                        </a:lnTo>
                        <a:lnTo>
                          <a:pt x="136" y="54"/>
                        </a:lnTo>
                        <a:lnTo>
                          <a:pt x="137" y="55"/>
                        </a:lnTo>
                        <a:lnTo>
                          <a:pt x="137" y="55"/>
                        </a:lnTo>
                        <a:lnTo>
                          <a:pt x="137" y="55"/>
                        </a:lnTo>
                        <a:lnTo>
                          <a:pt x="137" y="56"/>
                        </a:lnTo>
                        <a:lnTo>
                          <a:pt x="137" y="56"/>
                        </a:lnTo>
                        <a:lnTo>
                          <a:pt x="137" y="57"/>
                        </a:lnTo>
                        <a:lnTo>
                          <a:pt x="137" y="57"/>
                        </a:lnTo>
                        <a:lnTo>
                          <a:pt x="137" y="58"/>
                        </a:lnTo>
                        <a:lnTo>
                          <a:pt x="136" y="59"/>
                        </a:lnTo>
                        <a:lnTo>
                          <a:pt x="136" y="59"/>
                        </a:lnTo>
                        <a:lnTo>
                          <a:pt x="135" y="60"/>
                        </a:lnTo>
                        <a:lnTo>
                          <a:pt x="135" y="61"/>
                        </a:lnTo>
                        <a:lnTo>
                          <a:pt x="135" y="61"/>
                        </a:lnTo>
                        <a:lnTo>
                          <a:pt x="134" y="62"/>
                        </a:lnTo>
                        <a:lnTo>
                          <a:pt x="134" y="63"/>
                        </a:lnTo>
                        <a:lnTo>
                          <a:pt x="134" y="64"/>
                        </a:lnTo>
                        <a:lnTo>
                          <a:pt x="134" y="64"/>
                        </a:lnTo>
                        <a:lnTo>
                          <a:pt x="134" y="65"/>
                        </a:lnTo>
                        <a:lnTo>
                          <a:pt x="134" y="66"/>
                        </a:lnTo>
                        <a:lnTo>
                          <a:pt x="134" y="66"/>
                        </a:lnTo>
                        <a:lnTo>
                          <a:pt x="135" y="67"/>
                        </a:lnTo>
                        <a:lnTo>
                          <a:pt x="136" y="67"/>
                        </a:lnTo>
                        <a:lnTo>
                          <a:pt x="137" y="67"/>
                        </a:lnTo>
                        <a:lnTo>
                          <a:pt x="137" y="68"/>
                        </a:lnTo>
                        <a:lnTo>
                          <a:pt x="138" y="68"/>
                        </a:lnTo>
                        <a:lnTo>
                          <a:pt x="138" y="68"/>
                        </a:lnTo>
                        <a:lnTo>
                          <a:pt x="138" y="69"/>
                        </a:lnTo>
                        <a:lnTo>
                          <a:pt x="139" y="69"/>
                        </a:lnTo>
                        <a:lnTo>
                          <a:pt x="139" y="70"/>
                        </a:lnTo>
                        <a:lnTo>
                          <a:pt x="139" y="70"/>
                        </a:lnTo>
                        <a:lnTo>
                          <a:pt x="139" y="71"/>
                        </a:lnTo>
                        <a:lnTo>
                          <a:pt x="139" y="72"/>
                        </a:lnTo>
                        <a:lnTo>
                          <a:pt x="139" y="73"/>
                        </a:lnTo>
                        <a:lnTo>
                          <a:pt x="139" y="73"/>
                        </a:lnTo>
                        <a:lnTo>
                          <a:pt x="139" y="74"/>
                        </a:lnTo>
                        <a:lnTo>
                          <a:pt x="139" y="74"/>
                        </a:lnTo>
                        <a:lnTo>
                          <a:pt x="139" y="74"/>
                        </a:lnTo>
                        <a:lnTo>
                          <a:pt x="137" y="75"/>
                        </a:lnTo>
                        <a:lnTo>
                          <a:pt x="136" y="75"/>
                        </a:lnTo>
                        <a:lnTo>
                          <a:pt x="135" y="75"/>
                        </a:lnTo>
                        <a:lnTo>
                          <a:pt x="134" y="74"/>
                        </a:lnTo>
                        <a:lnTo>
                          <a:pt x="133" y="74"/>
                        </a:lnTo>
                        <a:lnTo>
                          <a:pt x="132" y="74"/>
                        </a:lnTo>
                        <a:lnTo>
                          <a:pt x="131" y="73"/>
                        </a:lnTo>
                        <a:lnTo>
                          <a:pt x="130" y="73"/>
                        </a:lnTo>
                        <a:lnTo>
                          <a:pt x="129" y="72"/>
                        </a:lnTo>
                        <a:lnTo>
                          <a:pt x="128" y="71"/>
                        </a:lnTo>
                        <a:lnTo>
                          <a:pt x="127" y="70"/>
                        </a:lnTo>
                        <a:lnTo>
                          <a:pt x="125" y="69"/>
                        </a:lnTo>
                        <a:lnTo>
                          <a:pt x="125" y="68"/>
                        </a:lnTo>
                        <a:lnTo>
                          <a:pt x="124" y="68"/>
                        </a:lnTo>
                        <a:lnTo>
                          <a:pt x="124" y="67"/>
                        </a:lnTo>
                        <a:lnTo>
                          <a:pt x="124" y="67"/>
                        </a:lnTo>
                        <a:lnTo>
                          <a:pt x="123" y="67"/>
                        </a:lnTo>
                        <a:lnTo>
                          <a:pt x="123" y="67"/>
                        </a:lnTo>
                        <a:lnTo>
                          <a:pt x="123" y="67"/>
                        </a:lnTo>
                        <a:lnTo>
                          <a:pt x="123" y="67"/>
                        </a:lnTo>
                        <a:lnTo>
                          <a:pt x="123" y="67"/>
                        </a:lnTo>
                        <a:lnTo>
                          <a:pt x="123" y="67"/>
                        </a:lnTo>
                        <a:lnTo>
                          <a:pt x="123" y="67"/>
                        </a:lnTo>
                        <a:lnTo>
                          <a:pt x="122" y="67"/>
                        </a:lnTo>
                        <a:lnTo>
                          <a:pt x="122" y="67"/>
                        </a:lnTo>
                        <a:lnTo>
                          <a:pt x="122" y="68"/>
                        </a:lnTo>
                        <a:lnTo>
                          <a:pt x="120" y="68"/>
                        </a:lnTo>
                        <a:lnTo>
                          <a:pt x="119" y="68"/>
                        </a:lnTo>
                        <a:lnTo>
                          <a:pt x="117" y="68"/>
                        </a:lnTo>
                        <a:lnTo>
                          <a:pt x="115" y="68"/>
                        </a:lnTo>
                        <a:lnTo>
                          <a:pt x="115" y="68"/>
                        </a:lnTo>
                        <a:lnTo>
                          <a:pt x="114" y="68"/>
                        </a:lnTo>
                        <a:lnTo>
                          <a:pt x="114" y="68"/>
                        </a:lnTo>
                        <a:lnTo>
                          <a:pt x="114" y="68"/>
                        </a:lnTo>
                        <a:lnTo>
                          <a:pt x="114" y="68"/>
                        </a:lnTo>
                        <a:lnTo>
                          <a:pt x="114" y="69"/>
                        </a:lnTo>
                        <a:lnTo>
                          <a:pt x="114" y="70"/>
                        </a:lnTo>
                        <a:lnTo>
                          <a:pt x="112" y="70"/>
                        </a:lnTo>
                        <a:lnTo>
                          <a:pt x="110" y="70"/>
                        </a:lnTo>
                        <a:lnTo>
                          <a:pt x="109" y="70"/>
                        </a:lnTo>
                        <a:lnTo>
                          <a:pt x="107" y="70"/>
                        </a:lnTo>
                        <a:lnTo>
                          <a:pt x="107" y="68"/>
                        </a:lnTo>
                        <a:lnTo>
                          <a:pt x="107" y="67"/>
                        </a:lnTo>
                        <a:lnTo>
                          <a:pt x="107" y="66"/>
                        </a:lnTo>
                        <a:lnTo>
                          <a:pt x="106" y="65"/>
                        </a:lnTo>
                        <a:lnTo>
                          <a:pt x="106" y="65"/>
                        </a:lnTo>
                        <a:lnTo>
                          <a:pt x="105" y="64"/>
                        </a:lnTo>
                        <a:lnTo>
                          <a:pt x="105" y="63"/>
                        </a:lnTo>
                        <a:lnTo>
                          <a:pt x="104" y="63"/>
                        </a:lnTo>
                        <a:lnTo>
                          <a:pt x="104" y="62"/>
                        </a:lnTo>
                        <a:lnTo>
                          <a:pt x="103" y="62"/>
                        </a:lnTo>
                        <a:lnTo>
                          <a:pt x="102" y="61"/>
                        </a:lnTo>
                        <a:lnTo>
                          <a:pt x="101" y="61"/>
                        </a:lnTo>
                        <a:lnTo>
                          <a:pt x="101" y="60"/>
                        </a:lnTo>
                        <a:lnTo>
                          <a:pt x="100" y="60"/>
                        </a:lnTo>
                        <a:lnTo>
                          <a:pt x="98" y="60"/>
                        </a:lnTo>
                        <a:lnTo>
                          <a:pt x="96" y="59"/>
                        </a:lnTo>
                        <a:lnTo>
                          <a:pt x="94" y="59"/>
                        </a:lnTo>
                        <a:lnTo>
                          <a:pt x="92" y="59"/>
                        </a:lnTo>
                        <a:lnTo>
                          <a:pt x="89" y="59"/>
                        </a:lnTo>
                        <a:lnTo>
                          <a:pt x="85" y="58"/>
                        </a:lnTo>
                        <a:lnTo>
                          <a:pt x="83" y="58"/>
                        </a:lnTo>
                        <a:lnTo>
                          <a:pt x="80" y="58"/>
                        </a:lnTo>
                        <a:lnTo>
                          <a:pt x="80" y="58"/>
                        </a:lnTo>
                        <a:lnTo>
                          <a:pt x="80" y="58"/>
                        </a:lnTo>
                        <a:lnTo>
                          <a:pt x="79" y="58"/>
                        </a:lnTo>
                        <a:lnTo>
                          <a:pt x="79" y="58"/>
                        </a:lnTo>
                        <a:lnTo>
                          <a:pt x="78" y="57"/>
                        </a:lnTo>
                        <a:lnTo>
                          <a:pt x="77" y="57"/>
                        </a:lnTo>
                        <a:lnTo>
                          <a:pt x="76" y="56"/>
                        </a:lnTo>
                        <a:lnTo>
                          <a:pt x="75" y="55"/>
                        </a:lnTo>
                        <a:lnTo>
                          <a:pt x="74" y="55"/>
                        </a:lnTo>
                        <a:lnTo>
                          <a:pt x="73" y="54"/>
                        </a:lnTo>
                        <a:lnTo>
                          <a:pt x="72" y="53"/>
                        </a:lnTo>
                        <a:lnTo>
                          <a:pt x="72" y="52"/>
                        </a:lnTo>
                        <a:lnTo>
                          <a:pt x="71" y="52"/>
                        </a:lnTo>
                        <a:lnTo>
                          <a:pt x="70" y="51"/>
                        </a:lnTo>
                        <a:lnTo>
                          <a:pt x="69" y="50"/>
                        </a:lnTo>
                        <a:lnTo>
                          <a:pt x="68" y="50"/>
                        </a:lnTo>
                        <a:lnTo>
                          <a:pt x="67" y="50"/>
                        </a:lnTo>
                        <a:lnTo>
                          <a:pt x="66" y="49"/>
                        </a:lnTo>
                        <a:lnTo>
                          <a:pt x="65" y="49"/>
                        </a:lnTo>
                        <a:lnTo>
                          <a:pt x="65" y="49"/>
                        </a:lnTo>
                        <a:lnTo>
                          <a:pt x="64" y="49"/>
                        </a:lnTo>
                        <a:lnTo>
                          <a:pt x="63" y="49"/>
                        </a:lnTo>
                        <a:lnTo>
                          <a:pt x="62" y="50"/>
                        </a:lnTo>
                        <a:lnTo>
                          <a:pt x="62" y="49"/>
                        </a:lnTo>
                        <a:lnTo>
                          <a:pt x="61" y="50"/>
                        </a:lnTo>
                        <a:lnTo>
                          <a:pt x="61" y="50"/>
                        </a:lnTo>
                        <a:lnTo>
                          <a:pt x="61" y="50"/>
                        </a:lnTo>
                        <a:lnTo>
                          <a:pt x="61" y="50"/>
                        </a:lnTo>
                        <a:lnTo>
                          <a:pt x="60" y="51"/>
                        </a:lnTo>
                        <a:lnTo>
                          <a:pt x="60" y="51"/>
                        </a:lnTo>
                        <a:lnTo>
                          <a:pt x="59" y="51"/>
                        </a:lnTo>
                        <a:lnTo>
                          <a:pt x="57" y="51"/>
                        </a:lnTo>
                        <a:lnTo>
                          <a:pt x="56" y="51"/>
                        </a:lnTo>
                        <a:lnTo>
                          <a:pt x="54" y="51"/>
                        </a:lnTo>
                        <a:lnTo>
                          <a:pt x="53" y="51"/>
                        </a:lnTo>
                        <a:lnTo>
                          <a:pt x="52" y="51"/>
                        </a:lnTo>
                        <a:lnTo>
                          <a:pt x="50" y="51"/>
                        </a:lnTo>
                        <a:lnTo>
                          <a:pt x="49" y="52"/>
                        </a:lnTo>
                        <a:lnTo>
                          <a:pt x="48" y="52"/>
                        </a:lnTo>
                        <a:lnTo>
                          <a:pt x="47" y="52"/>
                        </a:lnTo>
                        <a:lnTo>
                          <a:pt x="46" y="53"/>
                        </a:lnTo>
                        <a:lnTo>
                          <a:pt x="45" y="53"/>
                        </a:lnTo>
                        <a:lnTo>
                          <a:pt x="44" y="54"/>
                        </a:lnTo>
                        <a:lnTo>
                          <a:pt x="44" y="55"/>
                        </a:lnTo>
                        <a:lnTo>
                          <a:pt x="43" y="55"/>
                        </a:lnTo>
                        <a:lnTo>
                          <a:pt x="42" y="56"/>
                        </a:lnTo>
                        <a:lnTo>
                          <a:pt x="42" y="57"/>
                        </a:lnTo>
                        <a:lnTo>
                          <a:pt x="42" y="58"/>
                        </a:lnTo>
                        <a:lnTo>
                          <a:pt x="42" y="59"/>
                        </a:lnTo>
                        <a:lnTo>
                          <a:pt x="42" y="60"/>
                        </a:lnTo>
                        <a:lnTo>
                          <a:pt x="42" y="60"/>
                        </a:lnTo>
                        <a:lnTo>
                          <a:pt x="42" y="60"/>
                        </a:lnTo>
                        <a:lnTo>
                          <a:pt x="41" y="60"/>
                        </a:lnTo>
                        <a:lnTo>
                          <a:pt x="41" y="60"/>
                        </a:lnTo>
                        <a:lnTo>
                          <a:pt x="41" y="60"/>
                        </a:lnTo>
                        <a:lnTo>
                          <a:pt x="41" y="60"/>
                        </a:lnTo>
                        <a:lnTo>
                          <a:pt x="41" y="60"/>
                        </a:lnTo>
                        <a:lnTo>
                          <a:pt x="41" y="61"/>
                        </a:lnTo>
                        <a:lnTo>
                          <a:pt x="41" y="61"/>
                        </a:lnTo>
                        <a:lnTo>
                          <a:pt x="42" y="61"/>
                        </a:lnTo>
                        <a:lnTo>
                          <a:pt x="42" y="61"/>
                        </a:lnTo>
                        <a:lnTo>
                          <a:pt x="42" y="61"/>
                        </a:lnTo>
                        <a:lnTo>
                          <a:pt x="42" y="62"/>
                        </a:lnTo>
                        <a:lnTo>
                          <a:pt x="42" y="62"/>
                        </a:lnTo>
                        <a:lnTo>
                          <a:pt x="42" y="63"/>
                        </a:lnTo>
                        <a:lnTo>
                          <a:pt x="42" y="64"/>
                        </a:lnTo>
                        <a:lnTo>
                          <a:pt x="42" y="65"/>
                        </a:lnTo>
                        <a:lnTo>
                          <a:pt x="42" y="66"/>
                        </a:lnTo>
                        <a:lnTo>
                          <a:pt x="42" y="67"/>
                        </a:lnTo>
                        <a:lnTo>
                          <a:pt x="43" y="67"/>
                        </a:lnTo>
                        <a:lnTo>
                          <a:pt x="43" y="68"/>
                        </a:lnTo>
                        <a:lnTo>
                          <a:pt x="44" y="69"/>
                        </a:lnTo>
                        <a:lnTo>
                          <a:pt x="44" y="69"/>
                        </a:lnTo>
                        <a:lnTo>
                          <a:pt x="45" y="70"/>
                        </a:lnTo>
                        <a:lnTo>
                          <a:pt x="45" y="71"/>
                        </a:lnTo>
                        <a:lnTo>
                          <a:pt x="45" y="71"/>
                        </a:lnTo>
                        <a:lnTo>
                          <a:pt x="45" y="72"/>
                        </a:lnTo>
                        <a:lnTo>
                          <a:pt x="45" y="73"/>
                        </a:lnTo>
                        <a:lnTo>
                          <a:pt x="45" y="73"/>
                        </a:lnTo>
                        <a:lnTo>
                          <a:pt x="45" y="74"/>
                        </a:lnTo>
                        <a:lnTo>
                          <a:pt x="45" y="74"/>
                        </a:lnTo>
                        <a:lnTo>
                          <a:pt x="45" y="74"/>
                        </a:lnTo>
                        <a:lnTo>
                          <a:pt x="43" y="76"/>
                        </a:lnTo>
                        <a:lnTo>
                          <a:pt x="41" y="78"/>
                        </a:lnTo>
                        <a:lnTo>
                          <a:pt x="39" y="80"/>
                        </a:lnTo>
                        <a:lnTo>
                          <a:pt x="37" y="81"/>
                        </a:lnTo>
                        <a:lnTo>
                          <a:pt x="36" y="82"/>
                        </a:lnTo>
                        <a:lnTo>
                          <a:pt x="35" y="83"/>
                        </a:lnTo>
                        <a:lnTo>
                          <a:pt x="34" y="83"/>
                        </a:lnTo>
                        <a:lnTo>
                          <a:pt x="32" y="84"/>
                        </a:lnTo>
                        <a:lnTo>
                          <a:pt x="31" y="85"/>
                        </a:lnTo>
                        <a:lnTo>
                          <a:pt x="29" y="85"/>
                        </a:lnTo>
                        <a:lnTo>
                          <a:pt x="27" y="85"/>
                        </a:lnTo>
                        <a:lnTo>
                          <a:pt x="26" y="86"/>
                        </a:lnTo>
                        <a:lnTo>
                          <a:pt x="24" y="86"/>
                        </a:lnTo>
                        <a:lnTo>
                          <a:pt x="24" y="86"/>
                        </a:lnTo>
                        <a:lnTo>
                          <a:pt x="24" y="85"/>
                        </a:lnTo>
                        <a:lnTo>
                          <a:pt x="24" y="85"/>
                        </a:lnTo>
                        <a:lnTo>
                          <a:pt x="23" y="85"/>
                        </a:lnTo>
                        <a:lnTo>
                          <a:pt x="23" y="85"/>
                        </a:lnTo>
                        <a:lnTo>
                          <a:pt x="23" y="85"/>
                        </a:lnTo>
                        <a:lnTo>
                          <a:pt x="23" y="85"/>
                        </a:lnTo>
                        <a:lnTo>
                          <a:pt x="23" y="85"/>
                        </a:lnTo>
                        <a:lnTo>
                          <a:pt x="23" y="85"/>
                        </a:lnTo>
                        <a:lnTo>
                          <a:pt x="22" y="85"/>
                        </a:lnTo>
                        <a:lnTo>
                          <a:pt x="22" y="86"/>
                        </a:lnTo>
                        <a:lnTo>
                          <a:pt x="22" y="86"/>
                        </a:lnTo>
                        <a:lnTo>
                          <a:pt x="21" y="86"/>
                        </a:lnTo>
                        <a:lnTo>
                          <a:pt x="21" y="87"/>
                        </a:lnTo>
                        <a:lnTo>
                          <a:pt x="19" y="87"/>
                        </a:lnTo>
                        <a:lnTo>
                          <a:pt x="18" y="88"/>
                        </a:lnTo>
                        <a:lnTo>
                          <a:pt x="17" y="88"/>
                        </a:lnTo>
                        <a:lnTo>
                          <a:pt x="16" y="89"/>
                        </a:lnTo>
                        <a:lnTo>
                          <a:pt x="15" y="89"/>
                        </a:lnTo>
                        <a:lnTo>
                          <a:pt x="14" y="89"/>
                        </a:lnTo>
                        <a:lnTo>
                          <a:pt x="13" y="90"/>
                        </a:lnTo>
                        <a:lnTo>
                          <a:pt x="12" y="90"/>
                        </a:lnTo>
                        <a:lnTo>
                          <a:pt x="11" y="90"/>
                        </a:lnTo>
                        <a:lnTo>
                          <a:pt x="10" y="90"/>
                        </a:lnTo>
                        <a:lnTo>
                          <a:pt x="9" y="90"/>
                        </a:lnTo>
                        <a:lnTo>
                          <a:pt x="7" y="90"/>
                        </a:lnTo>
                        <a:lnTo>
                          <a:pt x="7" y="90"/>
                        </a:lnTo>
                        <a:lnTo>
                          <a:pt x="6" y="90"/>
                        </a:lnTo>
                        <a:lnTo>
                          <a:pt x="5" y="90"/>
                        </a:lnTo>
                        <a:lnTo>
                          <a:pt x="4" y="90"/>
                        </a:lnTo>
                        <a:lnTo>
                          <a:pt x="3" y="90"/>
                        </a:lnTo>
                        <a:lnTo>
                          <a:pt x="2" y="89"/>
                        </a:lnTo>
                        <a:lnTo>
                          <a:pt x="2" y="89"/>
                        </a:lnTo>
                        <a:lnTo>
                          <a:pt x="1" y="88"/>
                        </a:lnTo>
                        <a:lnTo>
                          <a:pt x="1" y="87"/>
                        </a:lnTo>
                        <a:lnTo>
                          <a:pt x="1" y="86"/>
                        </a:lnTo>
                        <a:lnTo>
                          <a:pt x="0" y="85"/>
                        </a:lnTo>
                        <a:lnTo>
                          <a:pt x="0" y="84"/>
                        </a:lnTo>
                        <a:lnTo>
                          <a:pt x="0" y="82"/>
                        </a:lnTo>
                        <a:lnTo>
                          <a:pt x="0" y="81"/>
                        </a:lnTo>
                        <a:lnTo>
                          <a:pt x="0" y="79"/>
                        </a:lnTo>
                        <a:lnTo>
                          <a:pt x="1" y="76"/>
                        </a:lnTo>
                        <a:lnTo>
                          <a:pt x="1" y="74"/>
                        </a:lnTo>
                        <a:lnTo>
                          <a:pt x="1" y="72"/>
                        </a:lnTo>
                        <a:lnTo>
                          <a:pt x="1" y="71"/>
                        </a:lnTo>
                        <a:lnTo>
                          <a:pt x="1" y="71"/>
                        </a:lnTo>
                        <a:lnTo>
                          <a:pt x="2" y="71"/>
                        </a:lnTo>
                        <a:lnTo>
                          <a:pt x="2" y="71"/>
                        </a:lnTo>
                        <a:lnTo>
                          <a:pt x="3" y="71"/>
                        </a:lnTo>
                        <a:lnTo>
                          <a:pt x="3" y="71"/>
                        </a:lnTo>
                        <a:lnTo>
                          <a:pt x="4" y="71"/>
                        </a:lnTo>
                        <a:lnTo>
                          <a:pt x="5" y="71"/>
                        </a:lnTo>
                        <a:lnTo>
                          <a:pt x="5" y="71"/>
                        </a:lnTo>
                        <a:lnTo>
                          <a:pt x="6" y="70"/>
                        </a:lnTo>
                        <a:lnTo>
                          <a:pt x="6" y="69"/>
                        </a:lnTo>
                        <a:lnTo>
                          <a:pt x="7" y="68"/>
                        </a:lnTo>
                        <a:lnTo>
                          <a:pt x="7" y="68"/>
                        </a:lnTo>
                        <a:lnTo>
                          <a:pt x="7" y="67"/>
                        </a:lnTo>
                        <a:lnTo>
                          <a:pt x="8" y="65"/>
                        </a:lnTo>
                        <a:lnTo>
                          <a:pt x="8" y="63"/>
                        </a:lnTo>
                        <a:lnTo>
                          <a:pt x="9" y="62"/>
                        </a:lnTo>
                        <a:lnTo>
                          <a:pt x="9" y="61"/>
                        </a:lnTo>
                        <a:lnTo>
                          <a:pt x="9" y="61"/>
                        </a:lnTo>
                        <a:lnTo>
                          <a:pt x="9" y="60"/>
                        </a:lnTo>
                        <a:lnTo>
                          <a:pt x="9" y="60"/>
                        </a:lnTo>
                        <a:lnTo>
                          <a:pt x="8" y="59"/>
                        </a:lnTo>
                        <a:lnTo>
                          <a:pt x="8" y="59"/>
                        </a:lnTo>
                        <a:lnTo>
                          <a:pt x="7" y="59"/>
                        </a:lnTo>
                        <a:lnTo>
                          <a:pt x="6" y="59"/>
                        </a:lnTo>
                        <a:lnTo>
                          <a:pt x="5" y="58"/>
                        </a:lnTo>
                        <a:lnTo>
                          <a:pt x="5" y="58"/>
                        </a:lnTo>
                        <a:lnTo>
                          <a:pt x="5" y="58"/>
                        </a:lnTo>
                        <a:lnTo>
                          <a:pt x="4" y="58"/>
                        </a:lnTo>
                        <a:lnTo>
                          <a:pt x="4" y="57"/>
                        </a:lnTo>
                        <a:lnTo>
                          <a:pt x="4" y="57"/>
                        </a:lnTo>
                        <a:lnTo>
                          <a:pt x="4" y="56"/>
                        </a:lnTo>
                        <a:lnTo>
                          <a:pt x="4" y="56"/>
                        </a:lnTo>
                        <a:lnTo>
                          <a:pt x="5" y="56"/>
                        </a:lnTo>
                        <a:lnTo>
                          <a:pt x="6" y="55"/>
                        </a:lnTo>
                        <a:lnTo>
                          <a:pt x="6" y="55"/>
                        </a:lnTo>
                        <a:lnTo>
                          <a:pt x="6" y="55"/>
                        </a:lnTo>
                        <a:lnTo>
                          <a:pt x="7" y="54"/>
                        </a:lnTo>
                        <a:lnTo>
                          <a:pt x="7" y="54"/>
                        </a:lnTo>
                        <a:lnTo>
                          <a:pt x="7" y="54"/>
                        </a:lnTo>
                        <a:lnTo>
                          <a:pt x="7" y="53"/>
                        </a:lnTo>
                        <a:lnTo>
                          <a:pt x="7" y="53"/>
                        </a:lnTo>
                        <a:lnTo>
                          <a:pt x="7" y="53"/>
                        </a:lnTo>
                        <a:lnTo>
                          <a:pt x="7" y="52"/>
                        </a:lnTo>
                        <a:lnTo>
                          <a:pt x="7" y="52"/>
                        </a:lnTo>
                        <a:lnTo>
                          <a:pt x="7" y="51"/>
                        </a:lnTo>
                        <a:lnTo>
                          <a:pt x="7" y="51"/>
                        </a:lnTo>
                        <a:lnTo>
                          <a:pt x="6" y="50"/>
                        </a:lnTo>
                        <a:lnTo>
                          <a:pt x="6" y="49"/>
                        </a:lnTo>
                        <a:lnTo>
                          <a:pt x="5" y="48"/>
                        </a:lnTo>
                        <a:lnTo>
                          <a:pt x="4" y="47"/>
                        </a:lnTo>
                        <a:lnTo>
                          <a:pt x="4" y="47"/>
                        </a:lnTo>
                        <a:lnTo>
                          <a:pt x="3" y="46"/>
                        </a:lnTo>
                        <a:lnTo>
                          <a:pt x="3" y="45"/>
                        </a:lnTo>
                        <a:lnTo>
                          <a:pt x="2" y="44"/>
                        </a:lnTo>
                        <a:lnTo>
                          <a:pt x="3" y="45"/>
                        </a:lnTo>
                        <a:lnTo>
                          <a:pt x="3" y="45"/>
                        </a:lnTo>
                        <a:lnTo>
                          <a:pt x="4" y="44"/>
                        </a:lnTo>
                        <a:lnTo>
                          <a:pt x="5" y="44"/>
                        </a:lnTo>
                        <a:lnTo>
                          <a:pt x="5" y="44"/>
                        </a:lnTo>
                        <a:lnTo>
                          <a:pt x="5" y="44"/>
                        </a:lnTo>
                        <a:lnTo>
                          <a:pt x="6" y="44"/>
                        </a:lnTo>
                        <a:lnTo>
                          <a:pt x="6" y="44"/>
                        </a:lnTo>
                        <a:lnTo>
                          <a:pt x="6" y="43"/>
                        </a:lnTo>
                        <a:lnTo>
                          <a:pt x="7" y="43"/>
                        </a:lnTo>
                        <a:lnTo>
                          <a:pt x="7" y="42"/>
                        </a:lnTo>
                        <a:lnTo>
                          <a:pt x="7" y="42"/>
                        </a:lnTo>
                        <a:lnTo>
                          <a:pt x="7" y="41"/>
                        </a:lnTo>
                        <a:lnTo>
                          <a:pt x="7" y="41"/>
                        </a:lnTo>
                        <a:lnTo>
                          <a:pt x="7" y="40"/>
                        </a:lnTo>
                        <a:lnTo>
                          <a:pt x="7" y="40"/>
                        </a:lnTo>
                        <a:lnTo>
                          <a:pt x="7" y="39"/>
                        </a:lnTo>
                        <a:lnTo>
                          <a:pt x="6" y="39"/>
                        </a:lnTo>
                        <a:lnTo>
                          <a:pt x="6" y="38"/>
                        </a:lnTo>
                        <a:lnTo>
                          <a:pt x="6" y="37"/>
                        </a:lnTo>
                        <a:lnTo>
                          <a:pt x="6" y="37"/>
                        </a:lnTo>
                        <a:lnTo>
                          <a:pt x="5" y="36"/>
                        </a:lnTo>
                        <a:lnTo>
                          <a:pt x="5" y="35"/>
                        </a:lnTo>
                        <a:lnTo>
                          <a:pt x="5" y="34"/>
                        </a:lnTo>
                        <a:lnTo>
                          <a:pt x="5" y="33"/>
                        </a:lnTo>
                        <a:lnTo>
                          <a:pt x="5" y="32"/>
                        </a:lnTo>
                        <a:lnTo>
                          <a:pt x="5" y="31"/>
                        </a:lnTo>
                        <a:lnTo>
                          <a:pt x="5" y="30"/>
                        </a:lnTo>
                        <a:lnTo>
                          <a:pt x="5" y="29"/>
                        </a:lnTo>
                        <a:lnTo>
                          <a:pt x="5" y="28"/>
                        </a:lnTo>
                        <a:lnTo>
                          <a:pt x="5" y="27"/>
                        </a:lnTo>
                        <a:lnTo>
                          <a:pt x="5" y="26"/>
                        </a:lnTo>
                        <a:lnTo>
                          <a:pt x="5" y="25"/>
                        </a:lnTo>
                        <a:lnTo>
                          <a:pt x="5" y="25"/>
                        </a:lnTo>
                        <a:lnTo>
                          <a:pt x="4" y="24"/>
                        </a:lnTo>
                        <a:lnTo>
                          <a:pt x="4" y="24"/>
                        </a:lnTo>
                        <a:lnTo>
                          <a:pt x="4" y="23"/>
                        </a:lnTo>
                        <a:lnTo>
                          <a:pt x="9" y="23"/>
                        </a:lnTo>
                        <a:lnTo>
                          <a:pt x="9" y="23"/>
                        </a:lnTo>
                        <a:lnTo>
                          <a:pt x="10" y="23"/>
                        </a:lnTo>
                        <a:lnTo>
                          <a:pt x="10" y="23"/>
                        </a:lnTo>
                        <a:lnTo>
                          <a:pt x="10" y="23"/>
                        </a:lnTo>
                        <a:lnTo>
                          <a:pt x="10" y="22"/>
                        </a:lnTo>
                        <a:lnTo>
                          <a:pt x="10" y="22"/>
                        </a:lnTo>
                        <a:lnTo>
                          <a:pt x="11" y="22"/>
                        </a:lnTo>
                        <a:lnTo>
                          <a:pt x="11" y="21"/>
                        </a:lnTo>
                        <a:lnTo>
                          <a:pt x="11" y="21"/>
                        </a:lnTo>
                        <a:lnTo>
                          <a:pt x="12" y="21"/>
                        </a:lnTo>
                        <a:lnTo>
                          <a:pt x="13" y="21"/>
                        </a:lnTo>
                        <a:lnTo>
                          <a:pt x="14" y="21"/>
                        </a:lnTo>
                        <a:lnTo>
                          <a:pt x="14" y="21"/>
                        </a:lnTo>
                        <a:lnTo>
                          <a:pt x="15" y="21"/>
                        </a:lnTo>
                        <a:lnTo>
                          <a:pt x="15" y="21"/>
                        </a:lnTo>
                        <a:lnTo>
                          <a:pt x="15" y="21"/>
                        </a:lnTo>
                        <a:lnTo>
                          <a:pt x="15" y="21"/>
                        </a:lnTo>
                        <a:lnTo>
                          <a:pt x="15" y="20"/>
                        </a:lnTo>
                        <a:lnTo>
                          <a:pt x="15" y="20"/>
                        </a:lnTo>
                        <a:lnTo>
                          <a:pt x="15" y="20"/>
                        </a:lnTo>
                        <a:lnTo>
                          <a:pt x="16" y="20"/>
                        </a:lnTo>
                        <a:lnTo>
                          <a:pt x="16" y="20"/>
                        </a:lnTo>
                        <a:lnTo>
                          <a:pt x="17" y="20"/>
                        </a:lnTo>
                        <a:lnTo>
                          <a:pt x="17" y="19"/>
                        </a:lnTo>
                        <a:lnTo>
                          <a:pt x="18" y="19"/>
                        </a:lnTo>
                        <a:lnTo>
                          <a:pt x="19" y="19"/>
                        </a:lnTo>
                        <a:lnTo>
                          <a:pt x="20" y="18"/>
                        </a:lnTo>
                        <a:lnTo>
                          <a:pt x="20" y="18"/>
                        </a:lnTo>
                        <a:lnTo>
                          <a:pt x="21" y="18"/>
                        </a:lnTo>
                        <a:lnTo>
                          <a:pt x="21" y="18"/>
                        </a:lnTo>
                        <a:lnTo>
                          <a:pt x="22" y="18"/>
                        </a:lnTo>
                        <a:lnTo>
                          <a:pt x="22" y="18"/>
                        </a:lnTo>
                        <a:lnTo>
                          <a:pt x="23" y="18"/>
                        </a:lnTo>
                        <a:lnTo>
                          <a:pt x="23" y="18"/>
                        </a:lnTo>
                        <a:lnTo>
                          <a:pt x="23" y="18"/>
                        </a:lnTo>
                        <a:lnTo>
                          <a:pt x="23" y="18"/>
                        </a:lnTo>
                        <a:lnTo>
                          <a:pt x="24" y="17"/>
                        </a:lnTo>
                        <a:lnTo>
                          <a:pt x="24" y="17"/>
                        </a:lnTo>
                        <a:lnTo>
                          <a:pt x="24" y="17"/>
                        </a:lnTo>
                        <a:lnTo>
                          <a:pt x="24" y="16"/>
                        </a:lnTo>
                        <a:lnTo>
                          <a:pt x="24" y="16"/>
                        </a:lnTo>
                        <a:lnTo>
                          <a:pt x="25" y="16"/>
                        </a:lnTo>
                        <a:lnTo>
                          <a:pt x="25" y="16"/>
                        </a:lnTo>
                        <a:lnTo>
                          <a:pt x="26" y="16"/>
                        </a:lnTo>
                        <a:lnTo>
                          <a:pt x="26" y="16"/>
                        </a:lnTo>
                        <a:lnTo>
                          <a:pt x="27" y="15"/>
                        </a:lnTo>
                        <a:lnTo>
                          <a:pt x="28" y="15"/>
                        </a:lnTo>
                        <a:lnTo>
                          <a:pt x="29" y="15"/>
                        </a:lnTo>
                        <a:lnTo>
                          <a:pt x="29" y="15"/>
                        </a:lnTo>
                        <a:lnTo>
                          <a:pt x="29" y="15"/>
                        </a:lnTo>
                        <a:lnTo>
                          <a:pt x="30" y="15"/>
                        </a:lnTo>
                        <a:lnTo>
                          <a:pt x="31" y="15"/>
                        </a:lnTo>
                        <a:lnTo>
                          <a:pt x="32" y="15"/>
                        </a:lnTo>
                        <a:lnTo>
                          <a:pt x="33" y="15"/>
                        </a:lnTo>
                        <a:lnTo>
                          <a:pt x="34" y="15"/>
                        </a:lnTo>
                        <a:lnTo>
                          <a:pt x="35" y="15"/>
                        </a:lnTo>
                        <a:lnTo>
                          <a:pt x="36" y="15"/>
                        </a:lnTo>
                        <a:lnTo>
                          <a:pt x="36" y="14"/>
                        </a:lnTo>
                        <a:lnTo>
                          <a:pt x="36" y="14"/>
                        </a:lnTo>
                        <a:lnTo>
                          <a:pt x="37" y="14"/>
                        </a:lnTo>
                        <a:lnTo>
                          <a:pt x="37" y="14"/>
                        </a:lnTo>
                        <a:lnTo>
                          <a:pt x="37" y="13"/>
                        </a:lnTo>
                        <a:lnTo>
                          <a:pt x="37" y="13"/>
                        </a:lnTo>
                        <a:lnTo>
                          <a:pt x="38" y="13"/>
                        </a:lnTo>
                        <a:lnTo>
                          <a:pt x="38" y="13"/>
                        </a:lnTo>
                        <a:lnTo>
                          <a:pt x="38" y="12"/>
                        </a:lnTo>
                        <a:lnTo>
                          <a:pt x="39" y="12"/>
                        </a:lnTo>
                        <a:lnTo>
                          <a:pt x="39" y="12"/>
                        </a:lnTo>
                        <a:lnTo>
                          <a:pt x="39" y="11"/>
                        </a:lnTo>
                        <a:lnTo>
                          <a:pt x="39" y="10"/>
                        </a:lnTo>
                        <a:lnTo>
                          <a:pt x="39" y="10"/>
                        </a:lnTo>
                        <a:lnTo>
                          <a:pt x="40" y="9"/>
                        </a:lnTo>
                        <a:lnTo>
                          <a:pt x="40" y="9"/>
                        </a:lnTo>
                        <a:lnTo>
                          <a:pt x="41" y="8"/>
                        </a:lnTo>
                        <a:lnTo>
                          <a:pt x="42" y="8"/>
                        </a:lnTo>
                        <a:lnTo>
                          <a:pt x="43" y="7"/>
                        </a:lnTo>
                        <a:lnTo>
                          <a:pt x="43" y="6"/>
                        </a:lnTo>
                        <a:lnTo>
                          <a:pt x="43" y="6"/>
                        </a:lnTo>
                        <a:lnTo>
                          <a:pt x="44" y="5"/>
                        </a:lnTo>
                        <a:lnTo>
                          <a:pt x="44" y="5"/>
                        </a:lnTo>
                        <a:lnTo>
                          <a:pt x="45" y="4"/>
                        </a:lnTo>
                        <a:lnTo>
                          <a:pt x="45" y="4"/>
                        </a:lnTo>
                        <a:lnTo>
                          <a:pt x="46" y="4"/>
                        </a:lnTo>
                        <a:lnTo>
                          <a:pt x="46" y="3"/>
                        </a:lnTo>
                        <a:lnTo>
                          <a:pt x="47" y="3"/>
                        </a:lnTo>
                        <a:lnTo>
                          <a:pt x="47" y="3"/>
                        </a:lnTo>
                        <a:lnTo>
                          <a:pt x="48" y="3"/>
                        </a:lnTo>
                        <a:lnTo>
                          <a:pt x="48" y="3"/>
                        </a:lnTo>
                        <a:lnTo>
                          <a:pt x="48" y="3"/>
                        </a:lnTo>
                        <a:lnTo>
                          <a:pt x="48" y="3"/>
                        </a:lnTo>
                        <a:lnTo>
                          <a:pt x="49" y="2"/>
                        </a:lnTo>
                        <a:lnTo>
                          <a:pt x="49" y="2"/>
                        </a:lnTo>
                        <a:lnTo>
                          <a:pt x="49" y="2"/>
                        </a:lnTo>
                        <a:lnTo>
                          <a:pt x="49" y="1"/>
                        </a:lnTo>
                        <a:lnTo>
                          <a:pt x="50" y="1"/>
                        </a:lnTo>
                        <a:lnTo>
                          <a:pt x="50" y="1"/>
                        </a:lnTo>
                        <a:lnTo>
                          <a:pt x="51" y="0"/>
                        </a:lnTo>
                        <a:lnTo>
                          <a:pt x="52" y="0"/>
                        </a:lnTo>
                        <a:lnTo>
                          <a:pt x="53" y="0"/>
                        </a:lnTo>
                        <a:lnTo>
                          <a:pt x="53" y="0"/>
                        </a:lnTo>
                        <a:lnTo>
                          <a:pt x="54" y="0"/>
                        </a:lnTo>
                        <a:lnTo>
                          <a:pt x="54" y="0"/>
                        </a:lnTo>
                        <a:lnTo>
                          <a:pt x="55" y="0"/>
                        </a:lnTo>
                        <a:lnTo>
                          <a:pt x="55" y="0"/>
                        </a:lnTo>
                        <a:lnTo>
                          <a:pt x="55" y="0"/>
                        </a:lnTo>
                        <a:lnTo>
                          <a:pt x="55" y="1"/>
                        </a:lnTo>
                        <a:lnTo>
                          <a:pt x="56" y="1"/>
                        </a:lnTo>
                        <a:lnTo>
                          <a:pt x="56" y="1"/>
                        </a:lnTo>
                        <a:lnTo>
                          <a:pt x="56" y="1"/>
                        </a:lnTo>
                        <a:lnTo>
                          <a:pt x="56" y="1"/>
                        </a:lnTo>
                        <a:lnTo>
                          <a:pt x="57" y="1"/>
                        </a:lnTo>
                        <a:lnTo>
                          <a:pt x="57" y="1"/>
                        </a:lnTo>
                        <a:lnTo>
                          <a:pt x="58" y="1"/>
                        </a:lnTo>
                        <a:lnTo>
                          <a:pt x="59" y="1"/>
                        </a:lnTo>
                        <a:lnTo>
                          <a:pt x="60" y="1"/>
                        </a:lnTo>
                        <a:lnTo>
                          <a:pt x="60" y="1"/>
                        </a:lnTo>
                        <a:lnTo>
                          <a:pt x="60" y="2"/>
                        </a:lnTo>
                        <a:lnTo>
                          <a:pt x="60" y="2"/>
                        </a:lnTo>
                        <a:lnTo>
                          <a:pt x="60" y="2"/>
                        </a:lnTo>
                        <a:lnTo>
                          <a:pt x="61" y="3"/>
                        </a:lnTo>
                        <a:lnTo>
                          <a:pt x="61" y="3"/>
                        </a:lnTo>
                        <a:lnTo>
                          <a:pt x="61" y="3"/>
                        </a:lnTo>
                        <a:lnTo>
                          <a:pt x="62" y="3"/>
                        </a:lnTo>
                        <a:lnTo>
                          <a:pt x="62" y="3"/>
                        </a:lnTo>
                        <a:lnTo>
                          <a:pt x="63" y="3"/>
                        </a:lnTo>
                        <a:lnTo>
                          <a:pt x="64" y="3"/>
                        </a:lnTo>
                        <a:lnTo>
                          <a:pt x="65" y="3"/>
                        </a:lnTo>
                        <a:lnTo>
                          <a:pt x="65" y="3"/>
                        </a:lnTo>
                        <a:lnTo>
                          <a:pt x="66" y="4"/>
                        </a:lnTo>
                        <a:lnTo>
                          <a:pt x="66" y="4"/>
                        </a:lnTo>
                        <a:lnTo>
                          <a:pt x="67" y="5"/>
                        </a:lnTo>
                        <a:lnTo>
                          <a:pt x="68" y="5"/>
                        </a:lnTo>
                        <a:lnTo>
                          <a:pt x="69" y="6"/>
                        </a:lnTo>
                        <a:lnTo>
                          <a:pt x="69" y="6"/>
                        </a:lnTo>
                        <a:lnTo>
                          <a:pt x="70" y="6"/>
                        </a:lnTo>
                        <a:lnTo>
                          <a:pt x="70" y="6"/>
                        </a:lnTo>
                        <a:lnTo>
                          <a:pt x="71" y="6"/>
                        </a:lnTo>
                        <a:lnTo>
                          <a:pt x="72" y="6"/>
                        </a:lnTo>
                        <a:lnTo>
                          <a:pt x="72" y="7"/>
                        </a:lnTo>
                        <a:lnTo>
                          <a:pt x="72" y="7"/>
                        </a:lnTo>
                        <a:lnTo>
                          <a:pt x="72" y="7"/>
                        </a:lnTo>
                        <a:lnTo>
                          <a:pt x="72" y="7"/>
                        </a:lnTo>
                        <a:lnTo>
                          <a:pt x="73" y="7"/>
                        </a:lnTo>
                        <a:lnTo>
                          <a:pt x="73" y="7"/>
                        </a:lnTo>
                        <a:lnTo>
                          <a:pt x="73" y="7"/>
                        </a:lnTo>
                        <a:lnTo>
                          <a:pt x="73" y="7"/>
                        </a:lnTo>
                        <a:lnTo>
                          <a:pt x="73" y="7"/>
                        </a:lnTo>
                        <a:lnTo>
                          <a:pt x="73" y="7"/>
                        </a:lnTo>
                        <a:lnTo>
                          <a:pt x="74" y="7"/>
                        </a:lnTo>
                        <a:lnTo>
                          <a:pt x="74" y="6"/>
                        </a:lnTo>
                        <a:lnTo>
                          <a:pt x="74" y="6"/>
                        </a:lnTo>
                        <a:lnTo>
                          <a:pt x="75" y="6"/>
                        </a:lnTo>
                        <a:lnTo>
                          <a:pt x="75" y="6"/>
                        </a:lnTo>
                        <a:lnTo>
                          <a:pt x="76" y="5"/>
                        </a:lnTo>
                        <a:lnTo>
                          <a:pt x="76" y="5"/>
                        </a:lnTo>
                        <a:lnTo>
                          <a:pt x="77" y="4"/>
                        </a:lnTo>
                        <a:lnTo>
                          <a:pt x="78" y="4"/>
                        </a:lnTo>
                        <a:lnTo>
                          <a:pt x="78" y="3"/>
                        </a:lnTo>
                        <a:lnTo>
                          <a:pt x="78" y="3"/>
                        </a:lnTo>
                        <a:lnTo>
                          <a:pt x="79" y="3"/>
                        </a:lnTo>
                        <a:lnTo>
                          <a:pt x="79" y="3"/>
                        </a:lnTo>
                        <a:lnTo>
                          <a:pt x="80" y="3"/>
                        </a:lnTo>
                        <a:lnTo>
                          <a:pt x="80" y="3"/>
                        </a:lnTo>
                        <a:lnTo>
                          <a:pt x="80" y="3"/>
                        </a:lnTo>
                        <a:lnTo>
                          <a:pt x="80" y="2"/>
                        </a:lnTo>
                        <a:lnTo>
                          <a:pt x="80" y="2"/>
                        </a:lnTo>
                        <a:lnTo>
                          <a:pt x="80" y="2"/>
                        </a:lnTo>
                        <a:lnTo>
                          <a:pt x="80" y="1"/>
                        </a:lnTo>
                        <a:lnTo>
                          <a:pt x="81" y="1"/>
                        </a:lnTo>
                        <a:lnTo>
                          <a:pt x="81" y="1"/>
                        </a:lnTo>
                        <a:lnTo>
                          <a:pt x="82" y="1"/>
                        </a:lnTo>
                        <a:lnTo>
                          <a:pt x="82" y="1"/>
                        </a:lnTo>
                        <a:lnTo>
                          <a:pt x="82" y="2"/>
                        </a:lnTo>
                        <a:lnTo>
                          <a:pt x="82" y="2"/>
                        </a:lnTo>
                        <a:lnTo>
                          <a:pt x="82" y="2"/>
                        </a:lnTo>
                        <a:lnTo>
                          <a:pt x="82" y="3"/>
                        </a:lnTo>
                        <a:lnTo>
                          <a:pt x="83" y="3"/>
                        </a:lnTo>
                        <a:lnTo>
                          <a:pt x="83" y="3"/>
                        </a:lnTo>
                        <a:lnTo>
                          <a:pt x="83" y="3"/>
                        </a:lnTo>
                        <a:lnTo>
                          <a:pt x="84" y="3"/>
                        </a:lnTo>
                        <a:lnTo>
                          <a:pt x="84" y="4"/>
                        </a:lnTo>
                        <a:lnTo>
                          <a:pt x="84" y="4"/>
                        </a:lnTo>
                        <a:lnTo>
                          <a:pt x="85" y="5"/>
                        </a:lnTo>
                        <a:lnTo>
                          <a:pt x="85" y="6"/>
                        </a:lnTo>
                        <a:lnTo>
                          <a:pt x="85" y="7"/>
                        </a:lnTo>
                        <a:lnTo>
                          <a:pt x="85" y="7"/>
                        </a:lnTo>
                        <a:lnTo>
                          <a:pt x="86" y="8"/>
                        </a:lnTo>
                        <a:lnTo>
                          <a:pt x="86" y="8"/>
                        </a:lnTo>
                        <a:lnTo>
                          <a:pt x="85" y="9"/>
                        </a:lnTo>
                        <a:lnTo>
                          <a:pt x="85" y="10"/>
                        </a:lnTo>
                        <a:lnTo>
                          <a:pt x="85" y="10"/>
                        </a:lnTo>
                        <a:lnTo>
                          <a:pt x="85" y="11"/>
                        </a:lnTo>
                        <a:lnTo>
                          <a:pt x="85" y="12"/>
                        </a:lnTo>
                        <a:lnTo>
                          <a:pt x="86" y="12"/>
                        </a:lnTo>
                        <a:lnTo>
                          <a:pt x="86" y="12"/>
                        </a:lnTo>
                        <a:lnTo>
                          <a:pt x="86" y="13"/>
                        </a:lnTo>
                        <a:lnTo>
                          <a:pt x="87" y="13"/>
                        </a:lnTo>
                        <a:lnTo>
                          <a:pt x="87" y="13"/>
                        </a:lnTo>
                        <a:lnTo>
                          <a:pt x="87" y="14"/>
                        </a:lnTo>
                        <a:lnTo>
                          <a:pt x="87" y="15"/>
                        </a:lnTo>
                        <a:lnTo>
                          <a:pt x="87" y="15"/>
                        </a:lnTo>
                        <a:lnTo>
                          <a:pt x="87" y="16"/>
                        </a:lnTo>
                        <a:lnTo>
                          <a:pt x="87" y="17"/>
                        </a:lnTo>
                        <a:lnTo>
                          <a:pt x="88" y="17"/>
                        </a:lnTo>
                        <a:lnTo>
                          <a:pt x="88" y="18"/>
                        </a:lnTo>
                        <a:lnTo>
                          <a:pt x="88" y="18"/>
                        </a:lnTo>
                        <a:lnTo>
                          <a:pt x="89" y="19"/>
                        </a:lnTo>
                        <a:lnTo>
                          <a:pt x="89" y="19"/>
                        </a:lnTo>
                        <a:lnTo>
                          <a:pt x="90" y="19"/>
                        </a:lnTo>
                        <a:lnTo>
                          <a:pt x="90" y="20"/>
                        </a:lnTo>
                        <a:lnTo>
                          <a:pt x="90" y="22"/>
                        </a:lnTo>
                        <a:lnTo>
                          <a:pt x="90" y="24"/>
                        </a:lnTo>
                        <a:lnTo>
                          <a:pt x="90" y="26"/>
                        </a:lnTo>
                        <a:lnTo>
                          <a:pt x="90" y="28"/>
                        </a:lnTo>
                        <a:lnTo>
                          <a:pt x="90" y="28"/>
                        </a:lnTo>
                        <a:lnTo>
                          <a:pt x="89" y="28"/>
                        </a:lnTo>
                        <a:lnTo>
                          <a:pt x="89" y="29"/>
                        </a:lnTo>
                        <a:lnTo>
                          <a:pt x="88" y="29"/>
                        </a:lnTo>
                        <a:lnTo>
                          <a:pt x="88" y="30"/>
                        </a:lnTo>
                        <a:lnTo>
                          <a:pt x="88" y="30"/>
                        </a:lnTo>
                        <a:lnTo>
                          <a:pt x="87" y="31"/>
                        </a:lnTo>
                        <a:lnTo>
                          <a:pt x="87" y="31"/>
                        </a:lnTo>
                        <a:lnTo>
                          <a:pt x="87" y="32"/>
                        </a:lnTo>
                        <a:lnTo>
                          <a:pt x="87" y="33"/>
                        </a:lnTo>
                        <a:lnTo>
                          <a:pt x="87" y="34"/>
                        </a:lnTo>
                        <a:lnTo>
                          <a:pt x="87" y="35"/>
                        </a:lnTo>
                        <a:lnTo>
                          <a:pt x="88" y="35"/>
                        </a:lnTo>
                        <a:lnTo>
                          <a:pt x="89" y="36"/>
                        </a:lnTo>
                        <a:lnTo>
                          <a:pt x="90" y="36"/>
                        </a:lnTo>
                        <a:lnTo>
                          <a:pt x="91" y="37"/>
                        </a:lnTo>
                        <a:lnTo>
                          <a:pt x="92" y="37"/>
                        </a:lnTo>
                        <a:lnTo>
                          <a:pt x="93" y="37"/>
                        </a:lnTo>
                        <a:lnTo>
                          <a:pt x="93" y="38"/>
                        </a:lnTo>
                        <a:lnTo>
                          <a:pt x="94" y="38"/>
                        </a:lnTo>
                        <a:lnTo>
                          <a:pt x="95" y="38"/>
                        </a:lnTo>
                        <a:lnTo>
                          <a:pt x="96" y="38"/>
                        </a:lnTo>
                        <a:lnTo>
                          <a:pt x="97" y="37"/>
                        </a:lnTo>
                        <a:lnTo>
                          <a:pt x="98" y="37"/>
                        </a:lnTo>
                        <a:lnTo>
                          <a:pt x="99" y="37"/>
                        </a:lnTo>
                        <a:lnTo>
                          <a:pt x="100" y="37"/>
                        </a:lnTo>
                        <a:lnTo>
                          <a:pt x="102" y="36"/>
                        </a:lnTo>
                        <a:lnTo>
                          <a:pt x="103" y="36"/>
                        </a:lnTo>
                        <a:lnTo>
                          <a:pt x="103" y="36"/>
                        </a:lnTo>
                        <a:lnTo>
                          <a:pt x="103" y="36"/>
                        </a:lnTo>
                        <a:lnTo>
                          <a:pt x="103" y="36"/>
                        </a:lnTo>
                        <a:lnTo>
                          <a:pt x="104" y="36"/>
                        </a:lnTo>
                        <a:lnTo>
                          <a:pt x="104" y="35"/>
                        </a:lnTo>
                        <a:lnTo>
                          <a:pt x="104" y="35"/>
                        </a:lnTo>
                        <a:lnTo>
                          <a:pt x="104" y="35"/>
                        </a:lnTo>
                        <a:lnTo>
                          <a:pt x="104" y="35"/>
                        </a:lnTo>
                        <a:lnTo>
                          <a:pt x="105" y="34"/>
                        </a:lnTo>
                        <a:lnTo>
                          <a:pt x="105" y="34"/>
                        </a:lnTo>
                        <a:lnTo>
                          <a:pt x="106" y="34"/>
                        </a:lnTo>
                        <a:lnTo>
                          <a:pt x="106" y="33"/>
                        </a:lnTo>
                        <a:lnTo>
                          <a:pt x="107" y="33"/>
                        </a:lnTo>
                        <a:lnTo>
                          <a:pt x="107" y="33"/>
                        </a:lnTo>
                        <a:lnTo>
                          <a:pt x="107" y="33"/>
                        </a:lnTo>
                        <a:lnTo>
                          <a:pt x="108" y="33"/>
                        </a:lnTo>
                        <a:lnTo>
                          <a:pt x="108" y="33"/>
                        </a:lnTo>
                        <a:lnTo>
                          <a:pt x="108" y="32"/>
                        </a:lnTo>
                        <a:lnTo>
                          <a:pt x="109" y="32"/>
                        </a:lnTo>
                        <a:lnTo>
                          <a:pt x="109" y="32"/>
                        </a:lnTo>
                        <a:lnTo>
                          <a:pt x="109" y="32"/>
                        </a:lnTo>
                        <a:lnTo>
                          <a:pt x="109" y="31"/>
                        </a:lnTo>
                        <a:lnTo>
                          <a:pt x="109" y="31"/>
                        </a:lnTo>
                        <a:lnTo>
                          <a:pt x="110" y="31"/>
                        </a:lnTo>
                        <a:lnTo>
                          <a:pt x="110" y="31"/>
                        </a:lnTo>
                        <a:lnTo>
                          <a:pt x="111" y="32"/>
                        </a:lnTo>
                        <a:lnTo>
                          <a:pt x="111" y="32"/>
                        </a:lnTo>
                        <a:lnTo>
                          <a:pt x="111" y="32"/>
                        </a:lnTo>
                        <a:lnTo>
                          <a:pt x="112" y="33"/>
                        </a:lnTo>
                        <a:lnTo>
                          <a:pt x="112" y="34"/>
                        </a:lnTo>
                        <a:lnTo>
                          <a:pt x="113" y="35"/>
                        </a:lnTo>
                        <a:lnTo>
                          <a:pt x="113" y="36"/>
                        </a:lnTo>
                        <a:lnTo>
                          <a:pt x="113" y="37"/>
                        </a:lnTo>
                        <a:lnTo>
                          <a:pt x="113" y="38"/>
                        </a:lnTo>
                        <a:lnTo>
                          <a:pt x="114" y="39"/>
                        </a:lnTo>
                        <a:lnTo>
                          <a:pt x="114" y="40"/>
                        </a:lnTo>
                        <a:lnTo>
                          <a:pt x="114" y="41"/>
                        </a:lnTo>
                        <a:lnTo>
                          <a:pt x="115" y="41"/>
                        </a:lnTo>
                        <a:lnTo>
                          <a:pt x="115" y="42"/>
                        </a:lnTo>
                        <a:lnTo>
                          <a:pt x="116" y="42"/>
                        </a:lnTo>
                        <a:lnTo>
                          <a:pt x="116" y="43"/>
                        </a:lnTo>
                        <a:lnTo>
                          <a:pt x="117" y="43"/>
                        </a:lnTo>
                        <a:lnTo>
                          <a:pt x="117" y="43"/>
                        </a:lnTo>
                        <a:lnTo>
                          <a:pt x="117" y="43"/>
                        </a:lnTo>
                        <a:lnTo>
                          <a:pt x="118" y="43"/>
                        </a:lnTo>
                        <a:lnTo>
                          <a:pt x="118" y="43"/>
                        </a:lnTo>
                        <a:lnTo>
                          <a:pt x="118" y="42"/>
                        </a:lnTo>
                        <a:lnTo>
                          <a:pt x="118" y="42"/>
                        </a:lnTo>
                        <a:lnTo>
                          <a:pt x="119" y="42"/>
                        </a:lnTo>
                        <a:lnTo>
                          <a:pt x="119" y="42"/>
                        </a:lnTo>
                        <a:lnTo>
                          <a:pt x="119" y="41"/>
                        </a:lnTo>
                        <a:lnTo>
                          <a:pt x="119" y="41"/>
                        </a:lnTo>
                        <a:lnTo>
                          <a:pt x="120" y="41"/>
                        </a:lnTo>
                        <a:lnTo>
                          <a:pt x="120" y="41"/>
                        </a:lnTo>
                        <a:lnTo>
                          <a:pt x="120" y="40"/>
                        </a:lnTo>
                        <a:lnTo>
                          <a:pt x="120" y="40"/>
                        </a:lnTo>
                        <a:lnTo>
                          <a:pt x="120" y="39"/>
                        </a:lnTo>
                        <a:lnTo>
                          <a:pt x="120" y="39"/>
                        </a:lnTo>
                        <a:lnTo>
                          <a:pt x="120" y="38"/>
                        </a:lnTo>
                        <a:lnTo>
                          <a:pt x="121" y="38"/>
                        </a:lnTo>
                        <a:lnTo>
                          <a:pt x="121" y="38"/>
                        </a:lnTo>
                        <a:lnTo>
                          <a:pt x="122" y="38"/>
                        </a:lnTo>
                        <a:lnTo>
                          <a:pt x="122" y="37"/>
                        </a:lnTo>
                        <a:lnTo>
                          <a:pt x="123" y="37"/>
                        </a:lnTo>
                        <a:lnTo>
                          <a:pt x="123" y="36"/>
                        </a:lnTo>
                        <a:lnTo>
                          <a:pt x="124" y="36"/>
                        </a:lnTo>
                        <a:lnTo>
                          <a:pt x="124" y="36"/>
                        </a:lnTo>
                        <a:lnTo>
                          <a:pt x="125" y="36"/>
                        </a:lnTo>
                        <a:lnTo>
                          <a:pt x="125" y="37"/>
                        </a:lnTo>
                        <a:lnTo>
                          <a:pt x="126" y="37"/>
                        </a:lnTo>
                        <a:lnTo>
                          <a:pt x="126" y="37"/>
                        </a:lnTo>
                        <a:lnTo>
                          <a:pt x="126" y="38"/>
                        </a:lnTo>
                        <a:lnTo>
                          <a:pt x="127" y="38"/>
                        </a:lnTo>
                        <a:lnTo>
                          <a:pt x="127" y="39"/>
                        </a:lnTo>
                        <a:lnTo>
                          <a:pt x="127" y="39"/>
                        </a:lnTo>
                        <a:lnTo>
                          <a:pt x="127" y="39"/>
                        </a:lnTo>
                        <a:lnTo>
                          <a:pt x="128" y="40"/>
                        </a:lnTo>
                        <a:lnTo>
                          <a:pt x="128" y="40"/>
                        </a:lnTo>
                        <a:lnTo>
                          <a:pt x="129" y="40"/>
                        </a:lnTo>
                        <a:lnTo>
                          <a:pt x="130" y="40"/>
                        </a:lnTo>
                        <a:lnTo>
                          <a:pt x="130" y="40"/>
                        </a:lnTo>
                        <a:lnTo>
                          <a:pt x="131" y="40"/>
                        </a:lnTo>
                        <a:lnTo>
                          <a:pt x="131" y="40"/>
                        </a:lnTo>
                        <a:lnTo>
                          <a:pt x="131" y="40"/>
                        </a:lnTo>
                        <a:lnTo>
                          <a:pt x="131" y="41"/>
                        </a:lnTo>
                        <a:lnTo>
                          <a:pt x="132" y="41"/>
                        </a:lnTo>
                        <a:lnTo>
                          <a:pt x="132" y="41"/>
                        </a:lnTo>
                        <a:lnTo>
                          <a:pt x="133" y="41"/>
                        </a:lnTo>
                        <a:lnTo>
                          <a:pt x="133" y="41"/>
                        </a:lnTo>
                        <a:lnTo>
                          <a:pt x="134" y="41"/>
                        </a:lnTo>
                        <a:lnTo>
                          <a:pt x="134" y="41"/>
                        </a:lnTo>
                        <a:lnTo>
                          <a:pt x="134" y="41"/>
                        </a:lnTo>
                        <a:lnTo>
                          <a:pt x="135" y="41"/>
                        </a:lnTo>
                        <a:lnTo>
                          <a:pt x="135" y="40"/>
                        </a:lnTo>
                        <a:lnTo>
                          <a:pt x="135" y="40"/>
                        </a:lnTo>
                        <a:lnTo>
                          <a:pt x="135" y="40"/>
                        </a:lnTo>
                        <a:lnTo>
                          <a:pt x="135" y="40"/>
                        </a:lnTo>
                        <a:lnTo>
                          <a:pt x="136" y="40"/>
                        </a:lnTo>
                        <a:lnTo>
                          <a:pt x="136" y="39"/>
                        </a:lnTo>
                        <a:lnTo>
                          <a:pt x="136" y="39"/>
                        </a:lnTo>
                        <a:lnTo>
                          <a:pt x="137" y="39"/>
                        </a:lnTo>
                        <a:lnTo>
                          <a:pt x="137" y="39"/>
                        </a:lnTo>
                        <a:lnTo>
                          <a:pt x="138" y="39"/>
                        </a:lnTo>
                        <a:lnTo>
                          <a:pt x="138" y="38"/>
                        </a:lnTo>
                        <a:lnTo>
                          <a:pt x="138" y="38"/>
                        </a:lnTo>
                        <a:lnTo>
                          <a:pt x="138" y="39"/>
                        </a:lnTo>
                        <a:lnTo>
                          <a:pt x="138" y="39"/>
                        </a:lnTo>
                        <a:lnTo>
                          <a:pt x="138" y="39"/>
                        </a:lnTo>
                        <a:lnTo>
                          <a:pt x="139" y="39"/>
                        </a:lnTo>
                        <a:lnTo>
                          <a:pt x="139" y="40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accent1"/>
                    </a:solidFill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algn="ctr" defTabSz="914308">
                      <a:defRPr/>
                    </a:pPr>
                    <a:endParaRPr lang="en-US" sz="900" kern="0" dirty="0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latin typeface="Times New Roman" pitchFamily="18" charset="0"/>
                      <a:cs typeface="Times New Roman" pitchFamily="18" charset="0"/>
                    </a:endParaRPr>
                  </a:p>
                </p:txBody>
              </p:sp>
              <p:sp>
                <p:nvSpPr>
                  <p:cNvPr id="319" name="Freeform 43"/>
                  <p:cNvSpPr>
                    <a:spLocks/>
                  </p:cNvSpPr>
                  <p:nvPr/>
                </p:nvSpPr>
                <p:spPr bwMode="auto">
                  <a:xfrm>
                    <a:off x="3488369" y="4102903"/>
                    <a:ext cx="1044223" cy="922075"/>
                  </a:xfrm>
                  <a:custGeom>
                    <a:avLst/>
                    <a:gdLst/>
                    <a:ahLst/>
                    <a:cxnLst>
                      <a:cxn ang="0">
                        <a:pos x="6" y="56"/>
                      </a:cxn>
                      <a:cxn ang="0">
                        <a:pos x="22" y="84"/>
                      </a:cxn>
                      <a:cxn ang="0">
                        <a:pos x="34" y="123"/>
                      </a:cxn>
                      <a:cxn ang="0">
                        <a:pos x="56" y="162"/>
                      </a:cxn>
                      <a:cxn ang="0">
                        <a:pos x="73" y="224"/>
                      </a:cxn>
                      <a:cxn ang="0">
                        <a:pos x="84" y="269"/>
                      </a:cxn>
                      <a:cxn ang="0">
                        <a:pos x="95" y="314"/>
                      </a:cxn>
                      <a:cxn ang="0">
                        <a:pos x="95" y="359"/>
                      </a:cxn>
                      <a:cxn ang="0">
                        <a:pos x="95" y="409"/>
                      </a:cxn>
                      <a:cxn ang="0">
                        <a:pos x="78" y="454"/>
                      </a:cxn>
                      <a:cxn ang="0">
                        <a:pos x="62" y="493"/>
                      </a:cxn>
                      <a:cxn ang="0">
                        <a:pos x="78" y="515"/>
                      </a:cxn>
                      <a:cxn ang="0">
                        <a:pos x="106" y="538"/>
                      </a:cxn>
                      <a:cxn ang="0">
                        <a:pos x="129" y="555"/>
                      </a:cxn>
                      <a:cxn ang="0">
                        <a:pos x="145" y="577"/>
                      </a:cxn>
                      <a:cxn ang="0">
                        <a:pos x="157" y="600"/>
                      </a:cxn>
                      <a:cxn ang="0">
                        <a:pos x="168" y="633"/>
                      </a:cxn>
                      <a:cxn ang="0">
                        <a:pos x="179" y="667"/>
                      </a:cxn>
                      <a:cxn ang="0">
                        <a:pos x="196" y="678"/>
                      </a:cxn>
                      <a:cxn ang="0">
                        <a:pos x="218" y="689"/>
                      </a:cxn>
                      <a:cxn ang="0">
                        <a:pos x="229" y="695"/>
                      </a:cxn>
                      <a:cxn ang="0">
                        <a:pos x="241" y="717"/>
                      </a:cxn>
                      <a:cxn ang="0">
                        <a:pos x="246" y="734"/>
                      </a:cxn>
                      <a:cxn ang="0">
                        <a:pos x="325" y="555"/>
                      </a:cxn>
                      <a:cxn ang="0">
                        <a:pos x="631" y="510"/>
                      </a:cxn>
                      <a:cxn ang="0">
                        <a:pos x="804" y="470"/>
                      </a:cxn>
                      <a:cxn ang="0">
                        <a:pos x="884" y="521"/>
                      </a:cxn>
                      <a:cxn ang="0">
                        <a:pos x="884" y="487"/>
                      </a:cxn>
                      <a:cxn ang="0">
                        <a:pos x="867" y="459"/>
                      </a:cxn>
                      <a:cxn ang="0">
                        <a:pos x="856" y="437"/>
                      </a:cxn>
                      <a:cxn ang="0">
                        <a:pos x="845" y="398"/>
                      </a:cxn>
                      <a:cxn ang="0">
                        <a:pos x="822" y="342"/>
                      </a:cxn>
                      <a:cxn ang="0">
                        <a:pos x="817" y="319"/>
                      </a:cxn>
                      <a:cxn ang="0">
                        <a:pos x="794" y="303"/>
                      </a:cxn>
                      <a:cxn ang="0">
                        <a:pos x="778" y="297"/>
                      </a:cxn>
                      <a:cxn ang="0">
                        <a:pos x="739" y="286"/>
                      </a:cxn>
                      <a:cxn ang="0">
                        <a:pos x="694" y="224"/>
                      </a:cxn>
                      <a:cxn ang="0">
                        <a:pos x="660" y="179"/>
                      </a:cxn>
                      <a:cxn ang="0">
                        <a:pos x="638" y="146"/>
                      </a:cxn>
                      <a:cxn ang="0">
                        <a:pos x="627" y="118"/>
                      </a:cxn>
                      <a:cxn ang="0">
                        <a:pos x="621" y="84"/>
                      </a:cxn>
                      <a:cxn ang="0">
                        <a:pos x="615" y="50"/>
                      </a:cxn>
                      <a:cxn ang="0">
                        <a:pos x="615" y="11"/>
                      </a:cxn>
                      <a:cxn ang="0">
                        <a:pos x="537" y="11"/>
                      </a:cxn>
                      <a:cxn ang="0">
                        <a:pos x="431" y="22"/>
                      </a:cxn>
                      <a:cxn ang="0">
                        <a:pos x="313" y="34"/>
                      </a:cxn>
                      <a:cxn ang="0">
                        <a:pos x="201" y="39"/>
                      </a:cxn>
                      <a:cxn ang="0">
                        <a:pos x="78" y="39"/>
                      </a:cxn>
                    </a:cxnLst>
                    <a:rect l="0" t="0" r="r" b="b"/>
                    <a:pathLst>
                      <a:path w="884" h="734">
                        <a:moveTo>
                          <a:pt x="0" y="39"/>
                        </a:moveTo>
                        <a:lnTo>
                          <a:pt x="0" y="45"/>
                        </a:lnTo>
                        <a:lnTo>
                          <a:pt x="6" y="56"/>
                        </a:lnTo>
                        <a:lnTo>
                          <a:pt x="11" y="62"/>
                        </a:lnTo>
                        <a:lnTo>
                          <a:pt x="17" y="73"/>
                        </a:lnTo>
                        <a:lnTo>
                          <a:pt x="22" y="84"/>
                        </a:lnTo>
                        <a:lnTo>
                          <a:pt x="28" y="101"/>
                        </a:lnTo>
                        <a:lnTo>
                          <a:pt x="34" y="112"/>
                        </a:lnTo>
                        <a:lnTo>
                          <a:pt x="34" y="123"/>
                        </a:lnTo>
                        <a:lnTo>
                          <a:pt x="39" y="140"/>
                        </a:lnTo>
                        <a:lnTo>
                          <a:pt x="50" y="151"/>
                        </a:lnTo>
                        <a:lnTo>
                          <a:pt x="56" y="162"/>
                        </a:lnTo>
                        <a:lnTo>
                          <a:pt x="67" y="196"/>
                        </a:lnTo>
                        <a:lnTo>
                          <a:pt x="67" y="207"/>
                        </a:lnTo>
                        <a:lnTo>
                          <a:pt x="73" y="224"/>
                        </a:lnTo>
                        <a:lnTo>
                          <a:pt x="78" y="241"/>
                        </a:lnTo>
                        <a:lnTo>
                          <a:pt x="78" y="252"/>
                        </a:lnTo>
                        <a:lnTo>
                          <a:pt x="84" y="269"/>
                        </a:lnTo>
                        <a:lnTo>
                          <a:pt x="84" y="286"/>
                        </a:lnTo>
                        <a:lnTo>
                          <a:pt x="95" y="303"/>
                        </a:lnTo>
                        <a:lnTo>
                          <a:pt x="95" y="314"/>
                        </a:lnTo>
                        <a:lnTo>
                          <a:pt x="95" y="331"/>
                        </a:lnTo>
                        <a:lnTo>
                          <a:pt x="95" y="347"/>
                        </a:lnTo>
                        <a:lnTo>
                          <a:pt x="95" y="359"/>
                        </a:lnTo>
                        <a:lnTo>
                          <a:pt x="95" y="381"/>
                        </a:lnTo>
                        <a:lnTo>
                          <a:pt x="95" y="392"/>
                        </a:lnTo>
                        <a:lnTo>
                          <a:pt x="95" y="409"/>
                        </a:lnTo>
                        <a:lnTo>
                          <a:pt x="84" y="426"/>
                        </a:lnTo>
                        <a:lnTo>
                          <a:pt x="84" y="437"/>
                        </a:lnTo>
                        <a:lnTo>
                          <a:pt x="78" y="454"/>
                        </a:lnTo>
                        <a:lnTo>
                          <a:pt x="73" y="465"/>
                        </a:lnTo>
                        <a:lnTo>
                          <a:pt x="73" y="482"/>
                        </a:lnTo>
                        <a:lnTo>
                          <a:pt x="62" y="493"/>
                        </a:lnTo>
                        <a:lnTo>
                          <a:pt x="67" y="499"/>
                        </a:lnTo>
                        <a:lnTo>
                          <a:pt x="73" y="504"/>
                        </a:lnTo>
                        <a:lnTo>
                          <a:pt x="78" y="515"/>
                        </a:lnTo>
                        <a:lnTo>
                          <a:pt x="84" y="521"/>
                        </a:lnTo>
                        <a:lnTo>
                          <a:pt x="95" y="527"/>
                        </a:lnTo>
                        <a:lnTo>
                          <a:pt x="106" y="538"/>
                        </a:lnTo>
                        <a:lnTo>
                          <a:pt x="117" y="543"/>
                        </a:lnTo>
                        <a:lnTo>
                          <a:pt x="123" y="549"/>
                        </a:lnTo>
                        <a:lnTo>
                          <a:pt x="129" y="555"/>
                        </a:lnTo>
                        <a:lnTo>
                          <a:pt x="134" y="566"/>
                        </a:lnTo>
                        <a:lnTo>
                          <a:pt x="145" y="572"/>
                        </a:lnTo>
                        <a:lnTo>
                          <a:pt x="145" y="577"/>
                        </a:lnTo>
                        <a:lnTo>
                          <a:pt x="151" y="583"/>
                        </a:lnTo>
                        <a:lnTo>
                          <a:pt x="151" y="588"/>
                        </a:lnTo>
                        <a:lnTo>
                          <a:pt x="157" y="600"/>
                        </a:lnTo>
                        <a:lnTo>
                          <a:pt x="162" y="616"/>
                        </a:lnTo>
                        <a:lnTo>
                          <a:pt x="162" y="622"/>
                        </a:lnTo>
                        <a:lnTo>
                          <a:pt x="168" y="633"/>
                        </a:lnTo>
                        <a:lnTo>
                          <a:pt x="173" y="644"/>
                        </a:lnTo>
                        <a:lnTo>
                          <a:pt x="173" y="650"/>
                        </a:lnTo>
                        <a:lnTo>
                          <a:pt x="179" y="667"/>
                        </a:lnTo>
                        <a:lnTo>
                          <a:pt x="179" y="672"/>
                        </a:lnTo>
                        <a:lnTo>
                          <a:pt x="190" y="672"/>
                        </a:lnTo>
                        <a:lnTo>
                          <a:pt x="196" y="678"/>
                        </a:lnTo>
                        <a:lnTo>
                          <a:pt x="201" y="678"/>
                        </a:lnTo>
                        <a:lnTo>
                          <a:pt x="207" y="684"/>
                        </a:lnTo>
                        <a:lnTo>
                          <a:pt x="218" y="689"/>
                        </a:lnTo>
                        <a:lnTo>
                          <a:pt x="224" y="689"/>
                        </a:lnTo>
                        <a:lnTo>
                          <a:pt x="224" y="695"/>
                        </a:lnTo>
                        <a:lnTo>
                          <a:pt x="229" y="695"/>
                        </a:lnTo>
                        <a:lnTo>
                          <a:pt x="229" y="706"/>
                        </a:lnTo>
                        <a:lnTo>
                          <a:pt x="241" y="712"/>
                        </a:lnTo>
                        <a:lnTo>
                          <a:pt x="241" y="717"/>
                        </a:lnTo>
                        <a:lnTo>
                          <a:pt x="246" y="723"/>
                        </a:lnTo>
                        <a:lnTo>
                          <a:pt x="246" y="728"/>
                        </a:lnTo>
                        <a:lnTo>
                          <a:pt x="246" y="734"/>
                        </a:lnTo>
                        <a:lnTo>
                          <a:pt x="246" y="734"/>
                        </a:lnTo>
                        <a:lnTo>
                          <a:pt x="252" y="734"/>
                        </a:lnTo>
                        <a:cubicBezTo>
                          <a:pt x="265" y="704"/>
                          <a:pt x="206" y="594"/>
                          <a:pt x="325" y="555"/>
                        </a:cubicBezTo>
                        <a:cubicBezTo>
                          <a:pt x="444" y="516"/>
                          <a:pt x="541" y="650"/>
                          <a:pt x="593" y="628"/>
                        </a:cubicBezTo>
                        <a:cubicBezTo>
                          <a:pt x="643" y="630"/>
                          <a:pt x="619" y="588"/>
                          <a:pt x="625" y="568"/>
                        </a:cubicBezTo>
                        <a:cubicBezTo>
                          <a:pt x="631" y="548"/>
                          <a:pt x="620" y="531"/>
                          <a:pt x="631" y="510"/>
                        </a:cubicBezTo>
                        <a:cubicBezTo>
                          <a:pt x="642" y="489"/>
                          <a:pt x="672" y="457"/>
                          <a:pt x="692" y="445"/>
                        </a:cubicBezTo>
                        <a:cubicBezTo>
                          <a:pt x="712" y="433"/>
                          <a:pt x="722" y="426"/>
                          <a:pt x="754" y="440"/>
                        </a:cubicBezTo>
                        <a:cubicBezTo>
                          <a:pt x="773" y="444"/>
                          <a:pt x="782" y="455"/>
                          <a:pt x="804" y="470"/>
                        </a:cubicBezTo>
                        <a:cubicBezTo>
                          <a:pt x="826" y="485"/>
                          <a:pt x="871" y="517"/>
                          <a:pt x="884" y="527"/>
                        </a:cubicBezTo>
                        <a:lnTo>
                          <a:pt x="884" y="527"/>
                        </a:lnTo>
                        <a:lnTo>
                          <a:pt x="884" y="521"/>
                        </a:lnTo>
                        <a:lnTo>
                          <a:pt x="884" y="504"/>
                        </a:lnTo>
                        <a:lnTo>
                          <a:pt x="884" y="493"/>
                        </a:lnTo>
                        <a:lnTo>
                          <a:pt x="884" y="487"/>
                        </a:lnTo>
                        <a:lnTo>
                          <a:pt x="878" y="482"/>
                        </a:lnTo>
                        <a:lnTo>
                          <a:pt x="873" y="465"/>
                        </a:lnTo>
                        <a:lnTo>
                          <a:pt x="867" y="459"/>
                        </a:lnTo>
                        <a:lnTo>
                          <a:pt x="867" y="454"/>
                        </a:lnTo>
                        <a:lnTo>
                          <a:pt x="862" y="448"/>
                        </a:lnTo>
                        <a:lnTo>
                          <a:pt x="856" y="437"/>
                        </a:lnTo>
                        <a:lnTo>
                          <a:pt x="856" y="431"/>
                        </a:lnTo>
                        <a:lnTo>
                          <a:pt x="850" y="415"/>
                        </a:lnTo>
                        <a:lnTo>
                          <a:pt x="845" y="398"/>
                        </a:lnTo>
                        <a:lnTo>
                          <a:pt x="834" y="381"/>
                        </a:lnTo>
                        <a:lnTo>
                          <a:pt x="828" y="359"/>
                        </a:lnTo>
                        <a:lnTo>
                          <a:pt x="822" y="342"/>
                        </a:lnTo>
                        <a:lnTo>
                          <a:pt x="822" y="336"/>
                        </a:lnTo>
                        <a:lnTo>
                          <a:pt x="817" y="331"/>
                        </a:lnTo>
                        <a:lnTo>
                          <a:pt x="817" y="319"/>
                        </a:lnTo>
                        <a:lnTo>
                          <a:pt x="811" y="314"/>
                        </a:lnTo>
                        <a:lnTo>
                          <a:pt x="806" y="308"/>
                        </a:lnTo>
                        <a:lnTo>
                          <a:pt x="794" y="303"/>
                        </a:lnTo>
                        <a:lnTo>
                          <a:pt x="789" y="303"/>
                        </a:lnTo>
                        <a:lnTo>
                          <a:pt x="783" y="297"/>
                        </a:lnTo>
                        <a:lnTo>
                          <a:pt x="778" y="297"/>
                        </a:lnTo>
                        <a:lnTo>
                          <a:pt x="767" y="291"/>
                        </a:lnTo>
                        <a:lnTo>
                          <a:pt x="755" y="291"/>
                        </a:lnTo>
                        <a:lnTo>
                          <a:pt x="739" y="286"/>
                        </a:lnTo>
                        <a:lnTo>
                          <a:pt x="727" y="269"/>
                        </a:lnTo>
                        <a:lnTo>
                          <a:pt x="716" y="258"/>
                        </a:lnTo>
                        <a:lnTo>
                          <a:pt x="694" y="224"/>
                        </a:lnTo>
                        <a:lnTo>
                          <a:pt x="683" y="213"/>
                        </a:lnTo>
                        <a:lnTo>
                          <a:pt x="671" y="202"/>
                        </a:lnTo>
                        <a:lnTo>
                          <a:pt x="660" y="179"/>
                        </a:lnTo>
                        <a:lnTo>
                          <a:pt x="649" y="168"/>
                        </a:lnTo>
                        <a:lnTo>
                          <a:pt x="638" y="151"/>
                        </a:lnTo>
                        <a:lnTo>
                          <a:pt x="638" y="146"/>
                        </a:lnTo>
                        <a:lnTo>
                          <a:pt x="632" y="129"/>
                        </a:lnTo>
                        <a:lnTo>
                          <a:pt x="632" y="123"/>
                        </a:lnTo>
                        <a:lnTo>
                          <a:pt x="627" y="118"/>
                        </a:lnTo>
                        <a:lnTo>
                          <a:pt x="621" y="106"/>
                        </a:lnTo>
                        <a:lnTo>
                          <a:pt x="621" y="95"/>
                        </a:lnTo>
                        <a:lnTo>
                          <a:pt x="621" y="84"/>
                        </a:lnTo>
                        <a:lnTo>
                          <a:pt x="615" y="73"/>
                        </a:lnTo>
                        <a:lnTo>
                          <a:pt x="615" y="62"/>
                        </a:lnTo>
                        <a:lnTo>
                          <a:pt x="615" y="50"/>
                        </a:lnTo>
                        <a:lnTo>
                          <a:pt x="615" y="34"/>
                        </a:lnTo>
                        <a:lnTo>
                          <a:pt x="615" y="22"/>
                        </a:lnTo>
                        <a:lnTo>
                          <a:pt x="615" y="11"/>
                        </a:lnTo>
                        <a:lnTo>
                          <a:pt x="615" y="0"/>
                        </a:lnTo>
                        <a:lnTo>
                          <a:pt x="576" y="6"/>
                        </a:lnTo>
                        <a:lnTo>
                          <a:pt x="537" y="11"/>
                        </a:lnTo>
                        <a:lnTo>
                          <a:pt x="504" y="17"/>
                        </a:lnTo>
                        <a:lnTo>
                          <a:pt x="470" y="17"/>
                        </a:lnTo>
                        <a:lnTo>
                          <a:pt x="431" y="22"/>
                        </a:lnTo>
                        <a:lnTo>
                          <a:pt x="392" y="22"/>
                        </a:lnTo>
                        <a:lnTo>
                          <a:pt x="352" y="28"/>
                        </a:lnTo>
                        <a:lnTo>
                          <a:pt x="313" y="34"/>
                        </a:lnTo>
                        <a:lnTo>
                          <a:pt x="280" y="34"/>
                        </a:lnTo>
                        <a:lnTo>
                          <a:pt x="241" y="34"/>
                        </a:lnTo>
                        <a:lnTo>
                          <a:pt x="201" y="39"/>
                        </a:lnTo>
                        <a:lnTo>
                          <a:pt x="162" y="39"/>
                        </a:lnTo>
                        <a:lnTo>
                          <a:pt x="117" y="39"/>
                        </a:lnTo>
                        <a:lnTo>
                          <a:pt x="78" y="39"/>
                        </a:lnTo>
                        <a:lnTo>
                          <a:pt x="39" y="39"/>
                        </a:lnTo>
                        <a:lnTo>
                          <a:pt x="0" y="39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accent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algn="ctr" defTabSz="914308">
                      <a:defRPr/>
                    </a:pPr>
                    <a:endParaRPr lang="en-US" sz="900" kern="0" dirty="0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latin typeface="Times New Roman" pitchFamily="18" charset="0"/>
                      <a:cs typeface="Times New Roman" pitchFamily="18" charset="0"/>
                    </a:endParaRPr>
                  </a:p>
                </p:txBody>
              </p:sp>
            </p:grpSp>
            <p:sp>
              <p:nvSpPr>
                <p:cNvPr id="271" name="TextBox 270"/>
                <p:cNvSpPr txBox="1"/>
                <p:nvPr/>
              </p:nvSpPr>
              <p:spPr>
                <a:xfrm>
                  <a:off x="3839111" y="1165778"/>
                  <a:ext cx="1647219" cy="7489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ru-RU" sz="1600" b="1" i="1" dirty="0"/>
                    <a:t>«</a:t>
                  </a:r>
                  <a:r>
                    <a:rPr lang="ru-RU" sz="1600" b="1" i="1" dirty="0" err="1"/>
                    <a:t>Сарыарқа</a:t>
                  </a:r>
                  <a:r>
                    <a:rPr lang="ru-RU" sz="1600" b="1" i="1" dirty="0"/>
                    <a:t>» АЭА</a:t>
                  </a:r>
                </a:p>
                <a:p>
                  <a:pPr algn="ctr"/>
                  <a:r>
                    <a:rPr lang="ru-RU" sz="1600" b="1" i="1" dirty="0"/>
                    <a:t>(2011 – 2036)</a:t>
                  </a:r>
                </a:p>
                <a:p>
                  <a:pPr algn="ctr"/>
                  <a:r>
                    <a:rPr lang="ru-RU" sz="1600" i="1" dirty="0"/>
                    <a:t>металлургия, </a:t>
                  </a:r>
                  <a:r>
                    <a:rPr lang="ru-RU" sz="1600" i="1" dirty="0" err="1"/>
                    <a:t>ауыр</a:t>
                  </a:r>
                  <a:r>
                    <a:rPr lang="ru-RU" sz="1600" i="1" dirty="0"/>
                    <a:t> машина </a:t>
                  </a:r>
                  <a:r>
                    <a:rPr lang="ru-RU" sz="1600" i="1" dirty="0" err="1"/>
                    <a:t>жасау</a:t>
                  </a:r>
                  <a:endParaRPr lang="ru-RU" sz="1600" i="1" dirty="0"/>
                </a:p>
              </p:txBody>
            </p:sp>
            <p:sp>
              <p:nvSpPr>
                <p:cNvPr id="273" name="TextBox 272"/>
                <p:cNvSpPr txBox="1"/>
                <p:nvPr/>
              </p:nvSpPr>
              <p:spPr>
                <a:xfrm>
                  <a:off x="4486519" y="579104"/>
                  <a:ext cx="1122566" cy="5777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ru-RU" sz="1600" b="1" i="1" dirty="0">
                      <a:solidFill>
                        <a:prstClr val="black"/>
                      </a:solidFill>
                    </a:rPr>
                    <a:t> «Павлодар» АЭА</a:t>
                  </a:r>
                </a:p>
                <a:p>
                  <a:pPr algn="ctr"/>
                  <a:r>
                    <a:rPr lang="ru-RU" sz="1600" i="1" dirty="0">
                      <a:solidFill>
                        <a:prstClr val="black"/>
                      </a:solidFill>
                    </a:rPr>
                    <a:t>(2011 – 2036)</a:t>
                  </a:r>
                </a:p>
                <a:p>
                  <a:pPr algn="ctr"/>
                  <a:r>
                    <a:rPr lang="kk-KZ" sz="1600" i="1" dirty="0">
                      <a:solidFill>
                        <a:prstClr val="black"/>
                      </a:solidFill>
                    </a:rPr>
                    <a:t>химия</a:t>
                  </a:r>
                  <a:r>
                    <a:rPr lang="ru-RU" sz="1600" i="1" dirty="0">
                      <a:solidFill>
                        <a:prstClr val="black"/>
                      </a:solidFill>
                    </a:rPr>
                    <a:t>,</a:t>
                  </a:r>
                  <a:r>
                    <a:rPr lang="kk-KZ" sz="1600" i="1" dirty="0">
                      <a:solidFill>
                        <a:prstClr val="black"/>
                      </a:solidFill>
                    </a:rPr>
                    <a:t> аралас</a:t>
                  </a:r>
                  <a:endParaRPr lang="ru-RU" sz="1600" i="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5" name="TextBox 274"/>
                <p:cNvSpPr txBox="1"/>
                <p:nvPr/>
              </p:nvSpPr>
              <p:spPr>
                <a:xfrm>
                  <a:off x="1772147" y="512832"/>
                  <a:ext cx="1818756" cy="5777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ru-RU" sz="1600" b="1" i="1" dirty="0"/>
                    <a:t> «Астана – </a:t>
                  </a:r>
                  <a:r>
                    <a:rPr lang="ru-RU" sz="1600" b="1" i="1" dirty="0" err="1"/>
                    <a:t>Жаңа</a:t>
                  </a:r>
                  <a:r>
                    <a:rPr lang="ru-RU" sz="1600" b="1" i="1" dirty="0"/>
                    <a:t> </a:t>
                  </a:r>
                  <a:r>
                    <a:rPr lang="ru-RU" sz="1600" b="1" i="1" dirty="0" err="1"/>
                    <a:t>қала</a:t>
                  </a:r>
                  <a:r>
                    <a:rPr lang="ru-RU" sz="1600" b="1" i="1" dirty="0"/>
                    <a:t>» АЭА</a:t>
                  </a:r>
                </a:p>
                <a:p>
                  <a:pPr algn="ctr"/>
                  <a:r>
                    <a:rPr lang="ru-RU" sz="1600" i="1" dirty="0"/>
                    <a:t>(2002 – 2027)</a:t>
                  </a:r>
                </a:p>
                <a:p>
                  <a:pPr algn="ctr"/>
                  <a:r>
                    <a:rPr lang="ru-RU" sz="1600" i="1" dirty="0" err="1"/>
                    <a:t>аралас</a:t>
                  </a:r>
                  <a:endParaRPr lang="ru-RU" sz="1600" i="1" dirty="0"/>
                </a:p>
              </p:txBody>
            </p:sp>
            <p:graphicFrame>
              <p:nvGraphicFramePr>
                <p:cNvPr id="278" name="Диаграмма 277"/>
                <p:cNvGraphicFramePr/>
                <p:nvPr>
                  <p:extLst>
                    <p:ext uri="{D42A27DB-BD31-4B8C-83A1-F6EECF244321}">
                      <p14:modId xmlns:p14="http://schemas.microsoft.com/office/powerpoint/2010/main" val="3888631053"/>
                    </p:ext>
                  </p:extLst>
                </p:nvPr>
              </p:nvGraphicFramePr>
              <p:xfrm>
                <a:off x="847354" y="1321583"/>
                <a:ext cx="653400" cy="653400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3"/>
                </a:graphicData>
              </a:graphic>
            </p:graphicFrame>
            <p:sp>
              <p:nvSpPr>
                <p:cNvPr id="279" name="TextBox 278"/>
                <p:cNvSpPr txBox="1"/>
                <p:nvPr/>
              </p:nvSpPr>
              <p:spPr>
                <a:xfrm>
                  <a:off x="969452" y="1367994"/>
                  <a:ext cx="1409444" cy="59916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ru-RU" sz="1600" b="1" i="1" dirty="0">
                      <a:solidFill>
                        <a:prstClr val="black"/>
                      </a:solidFill>
                    </a:rPr>
                    <a:t> «ОИНТ» АЭА</a:t>
                  </a:r>
                </a:p>
                <a:p>
                  <a:pPr algn="ctr"/>
                  <a:r>
                    <a:rPr lang="ru-RU" sz="1600" i="1" dirty="0">
                      <a:solidFill>
                        <a:prstClr val="black"/>
                      </a:solidFill>
                    </a:rPr>
                    <a:t>(2007 – 2032)</a:t>
                  </a:r>
                </a:p>
                <a:p>
                  <a:pPr algn="ctr"/>
                  <a:r>
                    <a:rPr lang="kk-KZ" sz="1600" i="1" dirty="0">
                      <a:solidFill>
                        <a:prstClr val="black"/>
                      </a:solidFill>
                    </a:rPr>
                    <a:t>химия, мұнай химиясы</a:t>
                  </a:r>
                  <a:endParaRPr lang="ru-RU" sz="1600" i="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1" name="TextBox 280"/>
                <p:cNvSpPr txBox="1"/>
                <p:nvPr/>
              </p:nvSpPr>
              <p:spPr>
                <a:xfrm>
                  <a:off x="2164584" y="2775815"/>
                  <a:ext cx="1279012" cy="59916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ru-RU" sz="1600" b="1" i="1" dirty="0">
                      <a:solidFill>
                        <a:prstClr val="black"/>
                      </a:solidFill>
                    </a:rPr>
                    <a:t>«</a:t>
                  </a:r>
                  <a:r>
                    <a:rPr lang="ru-RU" sz="1600" b="1" i="1" dirty="0" err="1">
                      <a:solidFill>
                        <a:prstClr val="black"/>
                      </a:solidFill>
                    </a:rPr>
                    <a:t>Оңтүстік</a:t>
                  </a:r>
                  <a:r>
                    <a:rPr lang="ru-RU" sz="1600" b="1" i="1" dirty="0">
                      <a:solidFill>
                        <a:prstClr val="black"/>
                      </a:solidFill>
                    </a:rPr>
                    <a:t>» АЭА</a:t>
                  </a:r>
                </a:p>
                <a:p>
                  <a:pPr algn="ctr"/>
                  <a:r>
                    <a:rPr lang="ru-RU" sz="1600" i="1" dirty="0">
                      <a:solidFill>
                        <a:prstClr val="black"/>
                      </a:solidFill>
                    </a:rPr>
                    <a:t>(2005 – 2030)</a:t>
                  </a:r>
                </a:p>
                <a:p>
                  <a:pPr algn="ctr"/>
                  <a:r>
                    <a:rPr lang="kk-KZ" sz="1600" i="1" dirty="0">
                      <a:solidFill>
                        <a:prstClr val="black"/>
                      </a:solidFill>
                    </a:rPr>
                    <a:t>тоқыма</a:t>
                  </a:r>
                  <a:endParaRPr lang="ru-RU" sz="1600" i="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4" name="TextBox 283"/>
                <p:cNvSpPr txBox="1"/>
                <p:nvPr/>
              </p:nvSpPr>
              <p:spPr>
                <a:xfrm>
                  <a:off x="2652018" y="2158455"/>
                  <a:ext cx="1621406" cy="53496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ru-RU" sz="1600" b="1" i="1" dirty="0">
                      <a:solidFill>
                        <a:prstClr val="black"/>
                      </a:solidFill>
                    </a:rPr>
                    <a:t>«</a:t>
                  </a:r>
                  <a:r>
                    <a:rPr lang="ru-RU" sz="1600" b="1" i="1" dirty="0" err="1">
                      <a:solidFill>
                        <a:prstClr val="black"/>
                      </a:solidFill>
                    </a:rPr>
                    <a:t>ХимПарк</a:t>
                  </a:r>
                  <a:r>
                    <a:rPr lang="ru-RU" sz="1600" b="1" i="1" dirty="0">
                      <a:solidFill>
                        <a:prstClr val="black"/>
                      </a:solidFill>
                    </a:rPr>
                    <a:t> </a:t>
                  </a:r>
                  <a:r>
                    <a:rPr lang="ru-RU" sz="1600" b="1" i="1" dirty="0" err="1">
                      <a:solidFill>
                        <a:prstClr val="black"/>
                      </a:solidFill>
                    </a:rPr>
                    <a:t>Тараз</a:t>
                  </a:r>
                  <a:r>
                    <a:rPr lang="ru-RU" sz="1600" b="1" i="1" dirty="0">
                      <a:solidFill>
                        <a:prstClr val="black"/>
                      </a:solidFill>
                    </a:rPr>
                    <a:t>» АЭА</a:t>
                  </a:r>
                </a:p>
                <a:p>
                  <a:pPr algn="ctr"/>
                  <a:r>
                    <a:rPr lang="ru-RU" sz="1400" i="1" dirty="0">
                      <a:solidFill>
                        <a:prstClr val="black"/>
                      </a:solidFill>
                    </a:rPr>
                    <a:t>(2012 – 2037)</a:t>
                  </a:r>
                </a:p>
                <a:p>
                  <a:pPr algn="ctr"/>
                  <a:r>
                    <a:rPr lang="ru-RU" sz="1400" i="1" dirty="0">
                      <a:solidFill>
                        <a:prstClr val="black"/>
                      </a:solidFill>
                    </a:rPr>
                    <a:t>химия</a:t>
                  </a:r>
                </a:p>
              </p:txBody>
            </p:sp>
            <p:sp>
              <p:nvSpPr>
                <p:cNvPr id="285" name="TextBox 284"/>
                <p:cNvSpPr txBox="1"/>
                <p:nvPr/>
              </p:nvSpPr>
              <p:spPr>
                <a:xfrm>
                  <a:off x="4454158" y="1904493"/>
                  <a:ext cx="1832862" cy="70615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ru-RU" sz="1600" b="1" i="1" dirty="0">
                      <a:solidFill>
                        <a:prstClr val="black"/>
                      </a:solidFill>
                    </a:rPr>
                    <a:t> «</a:t>
                  </a:r>
                  <a:r>
                    <a:rPr lang="ru-RU" sz="1600" b="1" i="1" dirty="0" err="1">
                      <a:solidFill>
                        <a:prstClr val="black"/>
                      </a:solidFill>
                    </a:rPr>
                    <a:t>Қорғас</a:t>
                  </a:r>
                  <a:r>
                    <a:rPr lang="ru-RU" sz="1600" b="1" i="1" dirty="0">
                      <a:solidFill>
                        <a:prstClr val="black"/>
                      </a:solidFill>
                    </a:rPr>
                    <a:t> - </a:t>
                  </a:r>
                  <a:r>
                    <a:rPr lang="ru-RU" sz="1600" b="1" i="1" dirty="0" err="1">
                      <a:solidFill>
                        <a:prstClr val="black"/>
                      </a:solidFill>
                    </a:rPr>
                    <a:t>Шығыс</a:t>
                  </a:r>
                  <a:r>
                    <a:rPr lang="ru-RU" sz="1600" b="1" i="1" dirty="0">
                      <a:solidFill>
                        <a:prstClr val="black"/>
                      </a:solidFill>
                    </a:rPr>
                    <a:t> </a:t>
                  </a:r>
                  <a:r>
                    <a:rPr lang="ru-RU" sz="1600" b="1" i="1" dirty="0" err="1">
                      <a:solidFill>
                        <a:prstClr val="black"/>
                      </a:solidFill>
                    </a:rPr>
                    <a:t>қақпасы</a:t>
                  </a:r>
                  <a:r>
                    <a:rPr lang="ru-RU" sz="1600" b="1" i="1" dirty="0">
                      <a:solidFill>
                        <a:prstClr val="black"/>
                      </a:solidFill>
                    </a:rPr>
                    <a:t>» АЭА</a:t>
                  </a:r>
                </a:p>
                <a:p>
                  <a:pPr algn="ctr"/>
                  <a:r>
                    <a:rPr lang="ru-RU" sz="1400" i="1" dirty="0">
                      <a:solidFill>
                        <a:prstClr val="black"/>
                      </a:solidFill>
                    </a:rPr>
                    <a:t>(2011 – 2036)</a:t>
                  </a:r>
                </a:p>
                <a:p>
                  <a:pPr algn="ctr"/>
                  <a:r>
                    <a:rPr lang="kk-KZ" sz="1400" i="1" dirty="0">
                      <a:solidFill>
                        <a:prstClr val="black"/>
                      </a:solidFill>
                    </a:rPr>
                    <a:t>аралас</a:t>
                  </a:r>
                  <a:endParaRPr lang="ru-RU" sz="1400" i="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9" name="TextBox 288"/>
                <p:cNvSpPr txBox="1"/>
                <p:nvPr/>
              </p:nvSpPr>
              <p:spPr>
                <a:xfrm>
                  <a:off x="3843825" y="2725023"/>
                  <a:ext cx="902544" cy="77035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ru-RU" sz="1600" b="1" i="1" dirty="0">
                      <a:solidFill>
                        <a:prstClr val="black"/>
                      </a:solidFill>
                    </a:rPr>
                    <a:t>«ИТП» АЭА</a:t>
                  </a:r>
                </a:p>
                <a:p>
                  <a:pPr algn="ctr"/>
                  <a:r>
                    <a:rPr lang="ru-RU" sz="1600" i="1" dirty="0">
                      <a:solidFill>
                        <a:prstClr val="black"/>
                      </a:solidFill>
                    </a:rPr>
                    <a:t>(2003 – 2028)</a:t>
                  </a:r>
                </a:p>
                <a:p>
                  <a:pPr algn="ctr"/>
                  <a:r>
                    <a:rPr lang="kk-KZ" sz="1600" i="1" dirty="0">
                      <a:solidFill>
                        <a:prstClr val="black"/>
                      </a:solidFill>
                    </a:rPr>
                    <a:t>ТБСТ және ҒЗТКЖ</a:t>
                  </a:r>
                  <a:endParaRPr lang="ru-RU" sz="1600" i="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0" name="TextBox 289"/>
                <p:cNvSpPr txBox="1"/>
                <p:nvPr/>
              </p:nvSpPr>
              <p:spPr>
                <a:xfrm>
                  <a:off x="548228" y="2112009"/>
                  <a:ext cx="1534036" cy="7489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ru-RU" sz="1600" b="1" i="1" dirty="0" err="1">
                      <a:solidFill>
                        <a:prstClr val="black"/>
                      </a:solidFill>
                    </a:rPr>
                    <a:t>Ақтау</a:t>
                  </a:r>
                  <a:r>
                    <a:rPr lang="ru-RU" sz="1600" b="1" i="1" dirty="0">
                      <a:solidFill>
                        <a:prstClr val="black"/>
                      </a:solidFill>
                    </a:rPr>
                    <a:t> </a:t>
                  </a:r>
                  <a:r>
                    <a:rPr lang="ru-RU" sz="1600" b="1" i="1" dirty="0" err="1">
                      <a:solidFill>
                        <a:prstClr val="black"/>
                      </a:solidFill>
                    </a:rPr>
                    <a:t>тең</a:t>
                  </a:r>
                  <a:r>
                    <a:rPr lang="en-US" sz="1600" b="1" i="1" dirty="0">
                      <a:solidFill>
                        <a:prstClr val="black"/>
                      </a:solidFill>
                    </a:rPr>
                    <a:t>i</a:t>
                  </a:r>
                  <a:r>
                    <a:rPr lang="ru-RU" sz="1600" b="1" i="1" dirty="0">
                      <a:solidFill>
                        <a:prstClr val="black"/>
                      </a:solidFill>
                    </a:rPr>
                    <a:t>з порты» АЭА</a:t>
                  </a:r>
                  <a:r>
                    <a:rPr lang="ru-RU" sz="1600" i="1" dirty="0">
                      <a:solidFill>
                        <a:prstClr val="black"/>
                      </a:solidFill>
                    </a:rPr>
                    <a:t/>
                  </a:r>
                  <a:br>
                    <a:rPr lang="ru-RU" sz="1600" i="1" dirty="0">
                      <a:solidFill>
                        <a:prstClr val="black"/>
                      </a:solidFill>
                    </a:rPr>
                  </a:br>
                  <a:r>
                    <a:rPr lang="ru-RU" sz="1600" i="1" dirty="0">
                      <a:solidFill>
                        <a:prstClr val="black"/>
                      </a:solidFill>
                    </a:rPr>
                    <a:t>(2003 – 2028)</a:t>
                  </a:r>
                </a:p>
                <a:p>
                  <a:pPr algn="ctr"/>
                  <a:r>
                    <a:rPr lang="kk-KZ" sz="1600" i="1" dirty="0">
                      <a:solidFill>
                        <a:prstClr val="black"/>
                      </a:solidFill>
                    </a:rPr>
                    <a:t>мұнай қызметтері</a:t>
                  </a:r>
                  <a:endParaRPr lang="ru-RU" sz="1600" i="1" dirty="0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241" name="Овал 240"/>
              <p:cNvSpPr/>
              <p:nvPr/>
            </p:nvSpPr>
            <p:spPr>
              <a:xfrm>
                <a:off x="4787305" y="3305415"/>
                <a:ext cx="68459" cy="68459"/>
              </a:xfrm>
              <a:prstGeom prst="ellipse">
                <a:avLst/>
              </a:prstGeom>
              <a:solidFill>
                <a:srgbClr val="0070C0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ru-RU" sz="1286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  <p:sp>
            <p:nvSpPr>
              <p:cNvPr id="242" name="Овал 241"/>
              <p:cNvSpPr/>
              <p:nvPr/>
            </p:nvSpPr>
            <p:spPr>
              <a:xfrm>
                <a:off x="3858882" y="3969213"/>
                <a:ext cx="68459" cy="68459"/>
              </a:xfrm>
              <a:prstGeom prst="ellipse">
                <a:avLst/>
              </a:prstGeom>
              <a:solidFill>
                <a:srgbClr val="0070C0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ru-RU" sz="1286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  <p:sp>
            <p:nvSpPr>
              <p:cNvPr id="243" name="Овал 242"/>
              <p:cNvSpPr/>
              <p:nvPr/>
            </p:nvSpPr>
            <p:spPr>
              <a:xfrm>
                <a:off x="1133942" y="2423544"/>
                <a:ext cx="68459" cy="68459"/>
              </a:xfrm>
              <a:prstGeom prst="ellipse">
                <a:avLst/>
              </a:prstGeom>
              <a:solidFill>
                <a:srgbClr val="0070C0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ru-RU" sz="1286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  <p:sp>
            <p:nvSpPr>
              <p:cNvPr id="244" name="Овал 243"/>
              <p:cNvSpPr/>
              <p:nvPr/>
            </p:nvSpPr>
            <p:spPr>
              <a:xfrm>
                <a:off x="661422" y="3238073"/>
                <a:ext cx="68459" cy="68459"/>
              </a:xfrm>
              <a:prstGeom prst="ellipse">
                <a:avLst/>
              </a:prstGeom>
              <a:solidFill>
                <a:srgbClr val="0070C0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ru-RU" sz="1286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  <p:sp>
            <p:nvSpPr>
              <p:cNvPr id="245" name="Овал 244"/>
              <p:cNvSpPr/>
              <p:nvPr/>
            </p:nvSpPr>
            <p:spPr>
              <a:xfrm>
                <a:off x="5974044" y="3506944"/>
                <a:ext cx="68459" cy="68459"/>
              </a:xfrm>
              <a:prstGeom prst="ellipse">
                <a:avLst/>
              </a:prstGeom>
              <a:solidFill>
                <a:srgbClr val="0070C0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ru-RU" sz="1286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  <p:sp>
            <p:nvSpPr>
              <p:cNvPr id="246" name="Овал 245"/>
              <p:cNvSpPr/>
              <p:nvPr/>
            </p:nvSpPr>
            <p:spPr>
              <a:xfrm>
                <a:off x="4027107" y="1806302"/>
                <a:ext cx="68459" cy="68459"/>
              </a:xfrm>
              <a:prstGeom prst="ellipse">
                <a:avLst/>
              </a:prstGeom>
              <a:solidFill>
                <a:srgbClr val="0070C0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ru-RU" sz="1286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  <p:sp>
            <p:nvSpPr>
              <p:cNvPr id="263" name="Овал 262"/>
              <p:cNvSpPr/>
              <p:nvPr/>
            </p:nvSpPr>
            <p:spPr>
              <a:xfrm>
                <a:off x="5298574" y="3644820"/>
                <a:ext cx="68459" cy="68459"/>
              </a:xfrm>
              <a:prstGeom prst="ellipse">
                <a:avLst/>
              </a:prstGeom>
              <a:solidFill>
                <a:srgbClr val="0070C0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ru-RU" sz="1286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  <p:sp>
            <p:nvSpPr>
              <p:cNvPr id="267" name="Овал 266"/>
              <p:cNvSpPr/>
              <p:nvPr/>
            </p:nvSpPr>
            <p:spPr>
              <a:xfrm>
                <a:off x="5001548" y="1556019"/>
                <a:ext cx="68459" cy="68459"/>
              </a:xfrm>
              <a:prstGeom prst="ellipse">
                <a:avLst/>
              </a:prstGeom>
              <a:solidFill>
                <a:srgbClr val="0070C0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ru-RU" sz="1286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  <p:sp>
            <p:nvSpPr>
              <p:cNvPr id="268" name="Овал 267"/>
              <p:cNvSpPr/>
              <p:nvPr/>
            </p:nvSpPr>
            <p:spPr>
              <a:xfrm>
                <a:off x="4289962" y="2278280"/>
                <a:ext cx="68459" cy="68459"/>
              </a:xfrm>
              <a:prstGeom prst="ellipse">
                <a:avLst/>
              </a:prstGeom>
              <a:solidFill>
                <a:srgbClr val="0070C0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ru-RU" sz="1286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</p:grpSp>
        <p:sp>
          <p:nvSpPr>
            <p:cNvPr id="320" name="Овал 319"/>
            <p:cNvSpPr/>
            <p:nvPr/>
          </p:nvSpPr>
          <p:spPr>
            <a:xfrm>
              <a:off x="6570836" y="4111918"/>
              <a:ext cx="90487" cy="82914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 sz="1286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321" name="TextBox 320"/>
            <p:cNvSpPr txBox="1"/>
            <p:nvPr/>
          </p:nvSpPr>
          <p:spPr>
            <a:xfrm>
              <a:off x="6173974" y="4165147"/>
              <a:ext cx="2015106" cy="7982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i="1" dirty="0">
                  <a:solidFill>
                    <a:prstClr val="black"/>
                  </a:solidFill>
                </a:rPr>
                <a:t>«ШЫХО «</a:t>
              </a:r>
              <a:r>
                <a:rPr lang="ru-RU" sz="1600" b="1" i="1" dirty="0" err="1">
                  <a:solidFill>
                    <a:prstClr val="black"/>
                  </a:solidFill>
                </a:rPr>
                <a:t>Қорғас</a:t>
              </a:r>
              <a:r>
                <a:rPr lang="ru-RU" sz="1600" b="1" i="1" dirty="0">
                  <a:solidFill>
                    <a:prstClr val="black"/>
                  </a:solidFill>
                </a:rPr>
                <a:t>» АЭА</a:t>
              </a:r>
            </a:p>
            <a:p>
              <a:pPr algn="ctr"/>
              <a:r>
                <a:rPr lang="ru-RU" sz="1600" i="1" dirty="0">
                  <a:solidFill>
                    <a:prstClr val="black"/>
                  </a:solidFill>
                </a:rPr>
                <a:t>(2017 – 2041)</a:t>
              </a:r>
            </a:p>
            <a:p>
              <a:pPr algn="ctr"/>
              <a:r>
                <a:rPr lang="kk-KZ" sz="1600" i="1" dirty="0">
                  <a:solidFill>
                    <a:prstClr val="black"/>
                  </a:solidFill>
                </a:rPr>
                <a:t>аралас</a:t>
              </a:r>
              <a:endParaRPr lang="ru-RU" sz="1600" i="1" dirty="0">
                <a:solidFill>
                  <a:prstClr val="black"/>
                </a:solidFill>
              </a:endParaRPr>
            </a:p>
          </p:txBody>
        </p:sp>
        <p:sp>
          <p:nvSpPr>
            <p:cNvPr id="322" name="Овал 321"/>
            <p:cNvSpPr/>
            <p:nvPr/>
          </p:nvSpPr>
          <p:spPr>
            <a:xfrm>
              <a:off x="4400625" y="2029627"/>
              <a:ext cx="90487" cy="82914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 sz="1286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323" name="TextBox 322"/>
            <p:cNvSpPr txBox="1"/>
            <p:nvPr/>
          </p:nvSpPr>
          <p:spPr>
            <a:xfrm>
              <a:off x="1987040" y="2095930"/>
              <a:ext cx="2463133" cy="7127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i="1" dirty="0">
                  <a:solidFill>
                    <a:prstClr val="black"/>
                  </a:solidFill>
                </a:rPr>
                <a:t>Астана – </a:t>
              </a:r>
              <a:r>
                <a:rPr lang="ru-RU" sz="1600" b="1" i="1" dirty="0" err="1">
                  <a:solidFill>
                    <a:prstClr val="black"/>
                  </a:solidFill>
                </a:rPr>
                <a:t>Технополис</a:t>
              </a:r>
              <a:r>
                <a:rPr lang="ru-RU" sz="1600" b="1" i="1" dirty="0">
                  <a:solidFill>
                    <a:prstClr val="black"/>
                  </a:solidFill>
                </a:rPr>
                <a:t>» АЭА</a:t>
              </a:r>
            </a:p>
            <a:p>
              <a:pPr algn="ctr"/>
              <a:r>
                <a:rPr lang="ru-RU" sz="1400" i="1" dirty="0">
                  <a:solidFill>
                    <a:prstClr val="black"/>
                  </a:solidFill>
                </a:rPr>
                <a:t>(2017 – 2042)</a:t>
              </a:r>
            </a:p>
            <a:p>
              <a:pPr algn="ctr"/>
              <a:r>
                <a:rPr lang="kk-KZ" sz="1400" i="1" dirty="0">
                  <a:solidFill>
                    <a:prstClr val="black"/>
                  </a:solidFill>
                </a:rPr>
                <a:t>аралас</a:t>
              </a:r>
              <a:endParaRPr lang="ru-RU" sz="1400" i="1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63" name="Группа 62"/>
          <p:cNvGrpSpPr/>
          <p:nvPr/>
        </p:nvGrpSpPr>
        <p:grpSpPr>
          <a:xfrm>
            <a:off x="2265784" y="5835098"/>
            <a:ext cx="2006634" cy="785334"/>
            <a:chOff x="3239785" y="3698513"/>
            <a:chExt cx="1360459" cy="325056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67" name="Скругленный прямоугольник 66"/>
            <p:cNvSpPr/>
            <p:nvPr/>
          </p:nvSpPr>
          <p:spPr>
            <a:xfrm>
              <a:off x="3239785" y="3698513"/>
              <a:ext cx="1360459" cy="294268"/>
            </a:xfrm>
            <a:prstGeom prst="roundRect">
              <a:avLst>
                <a:gd name="adj" fmla="val 7437"/>
              </a:avLst>
            </a:prstGeom>
            <a:grpFill/>
            <a:ln w="12700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3200" dirty="0">
                <a:solidFill>
                  <a:prstClr val="white"/>
                </a:solidFill>
              </a:endParaRPr>
            </a:p>
          </p:txBody>
        </p:sp>
        <p:sp>
          <p:nvSpPr>
            <p:cNvPr id="68" name="TextBox 67"/>
            <p:cNvSpPr txBox="1"/>
            <p:nvPr/>
          </p:nvSpPr>
          <p:spPr>
            <a:xfrm>
              <a:off x="3252364" y="3717830"/>
              <a:ext cx="1335571" cy="305739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b="1" dirty="0" smtClean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157</a:t>
              </a:r>
              <a:endParaRPr lang="ru-RU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cs typeface="Arial" pitchFamily="34" charset="0"/>
              </a:endParaRPr>
            </a:p>
            <a:p>
              <a:pPr algn="ctr"/>
              <a:r>
                <a:rPr lang="ru-RU" sz="1200" b="1" dirty="0" err="1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қолданыстағы</a:t>
              </a:r>
              <a:r>
                <a:rPr lang="ru-RU" sz="1200" b="1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  </a:t>
              </a:r>
              <a:r>
                <a:rPr lang="ru-RU" sz="1200" b="1" dirty="0" err="1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жобалар</a:t>
              </a:r>
              <a:endParaRPr lang="ru-RU" sz="12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70" name="Скругленный прямоугольник 69"/>
          <p:cNvSpPr/>
          <p:nvPr/>
        </p:nvSpPr>
        <p:spPr>
          <a:xfrm>
            <a:off x="6436485" y="5797197"/>
            <a:ext cx="2021522" cy="711504"/>
          </a:xfrm>
          <a:prstGeom prst="roundRect">
            <a:avLst>
              <a:gd name="adj" fmla="val 7437"/>
            </a:avLst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100</a:t>
            </a:r>
          </a:p>
          <a:p>
            <a:pPr algn="ctr"/>
            <a:r>
              <a:rPr lang="ru-RU" sz="1200" b="1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жоба</a:t>
            </a:r>
            <a:r>
              <a:rPr lang="ru-RU" sz="12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іске</a:t>
            </a:r>
            <a:r>
              <a:rPr lang="ru-RU" sz="12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асыру</a:t>
            </a:r>
            <a:r>
              <a:rPr lang="ru-RU" sz="12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кезеңінде</a:t>
            </a:r>
            <a:endParaRPr lang="ru-RU" sz="12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2" name="Соединительная линия уступом 11"/>
          <p:cNvCxnSpPr>
            <a:stCxn id="243" idx="6"/>
          </p:cNvCxnSpPr>
          <p:nvPr/>
        </p:nvCxnSpPr>
        <p:spPr>
          <a:xfrm flipV="1">
            <a:off x="1994491" y="2903752"/>
            <a:ext cx="537943" cy="189939"/>
          </a:xfrm>
          <a:prstGeom prst="bentConnector3">
            <a:avLst>
              <a:gd name="adj1" fmla="val -8077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Соединительная линия уступом 15"/>
          <p:cNvCxnSpPr>
            <a:stCxn id="244" idx="2"/>
          </p:cNvCxnSpPr>
          <p:nvPr/>
        </p:nvCxnSpPr>
        <p:spPr>
          <a:xfrm rot="10800000" flipH="1">
            <a:off x="1230542" y="3952556"/>
            <a:ext cx="227726" cy="206167"/>
          </a:xfrm>
          <a:prstGeom prst="bentConnector3">
            <a:avLst>
              <a:gd name="adj1" fmla="val -100384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Соединительная линия уступом 17"/>
          <p:cNvCxnSpPr>
            <a:stCxn id="246" idx="0"/>
          </p:cNvCxnSpPr>
          <p:nvPr/>
        </p:nvCxnSpPr>
        <p:spPr>
          <a:xfrm rot="16200000" flipV="1">
            <a:off x="5640746" y="1850844"/>
            <a:ext cx="452362" cy="329679"/>
          </a:xfrm>
          <a:prstGeom prst="bentConnector3">
            <a:avLst>
              <a:gd name="adj1" fmla="val -22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Соединительная линия уступом 19"/>
          <p:cNvCxnSpPr>
            <a:stCxn id="322" idx="0"/>
          </p:cNvCxnSpPr>
          <p:nvPr/>
        </p:nvCxnSpPr>
        <p:spPr>
          <a:xfrm rot="16200000" flipH="1" flipV="1">
            <a:off x="5741043" y="2268073"/>
            <a:ext cx="253912" cy="331824"/>
          </a:xfrm>
          <a:prstGeom prst="bentConnector4">
            <a:avLst>
              <a:gd name="adj1" fmla="val 100660"/>
              <a:gd name="adj2" fmla="val 58618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Соединительная линия уступом 22"/>
          <p:cNvCxnSpPr>
            <a:stCxn id="268" idx="0"/>
          </p:cNvCxnSpPr>
          <p:nvPr/>
        </p:nvCxnSpPr>
        <p:spPr>
          <a:xfrm rot="5400000" flipH="1" flipV="1">
            <a:off x="6558430" y="2424847"/>
            <a:ext cx="278678" cy="589621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1" name="Соединительная линия уступом 230"/>
          <p:cNvCxnSpPr>
            <a:stCxn id="267" idx="0"/>
          </p:cNvCxnSpPr>
          <p:nvPr/>
        </p:nvCxnSpPr>
        <p:spPr>
          <a:xfrm rot="5400000" flipH="1" flipV="1">
            <a:off x="7430837" y="1766499"/>
            <a:ext cx="125107" cy="171115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Соединительная линия уступом 232"/>
          <p:cNvCxnSpPr>
            <a:stCxn id="241" idx="0"/>
          </p:cNvCxnSpPr>
          <p:nvPr/>
        </p:nvCxnSpPr>
        <p:spPr>
          <a:xfrm rot="16200000" flipV="1">
            <a:off x="6867352" y="3964081"/>
            <a:ext cx="157444" cy="318427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Соединительная линия уступом 236"/>
          <p:cNvCxnSpPr>
            <a:stCxn id="245" idx="2"/>
          </p:cNvCxnSpPr>
          <p:nvPr/>
        </p:nvCxnSpPr>
        <p:spPr>
          <a:xfrm rot="10800000">
            <a:off x="7691589" y="3740788"/>
            <a:ext cx="1041227" cy="769495"/>
          </a:xfrm>
          <a:prstGeom prst="bentConnector3">
            <a:avLst>
              <a:gd name="adj1" fmla="val 99856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Соединительная линия уступом 34"/>
          <p:cNvCxnSpPr>
            <a:stCxn id="320" idx="6"/>
          </p:cNvCxnSpPr>
          <p:nvPr/>
        </p:nvCxnSpPr>
        <p:spPr>
          <a:xfrm>
            <a:off x="8834523" y="4599794"/>
            <a:ext cx="112577" cy="149748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Соединительная линия уступом 46"/>
          <p:cNvCxnSpPr/>
          <p:nvPr/>
        </p:nvCxnSpPr>
        <p:spPr>
          <a:xfrm rot="10800000" flipV="1">
            <a:off x="7578948" y="4735315"/>
            <a:ext cx="248332" cy="126229"/>
          </a:xfrm>
          <a:prstGeom prst="bentConnector3">
            <a:avLst>
              <a:gd name="adj1" fmla="val 137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Соединительная линия уступом 51"/>
          <p:cNvCxnSpPr>
            <a:stCxn id="242" idx="0"/>
          </p:cNvCxnSpPr>
          <p:nvPr/>
        </p:nvCxnSpPr>
        <p:spPr>
          <a:xfrm rot="16200000" flipV="1">
            <a:off x="5595485" y="4871240"/>
            <a:ext cx="136408" cy="261033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8648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176177" y="5676781"/>
            <a:ext cx="2312984" cy="751655"/>
          </a:xfrm>
          <a:prstGeom prst="rect">
            <a:avLst/>
          </a:prstGeom>
          <a:noFill/>
        </p:spPr>
        <p:txBody>
          <a:bodyPr wrap="square" lIns="104306" tIns="52153" rIns="104306" bIns="52153" rtlCol="0">
            <a:spAutoFit/>
          </a:bodyPr>
          <a:lstStyle/>
          <a:p>
            <a:pPr algn="ctr"/>
            <a:r>
              <a:rPr lang="ru-RU" sz="1400" b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егізгі</a:t>
            </a:r>
            <a:r>
              <a:rPr lang="ru-RU" sz="1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ндикаторлар</a:t>
            </a:r>
            <a:r>
              <a:rPr lang="ru-RU" sz="1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:</a:t>
            </a:r>
          </a:p>
          <a:p>
            <a:pPr algn="ctr"/>
            <a:r>
              <a:rPr lang="ru-RU" sz="1400" i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ru-RU" sz="1400" i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ұмыс</a:t>
            </a:r>
            <a:r>
              <a:rPr lang="ru-RU" sz="1400" i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уақытының</a:t>
            </a:r>
            <a:r>
              <a:rPr lang="ru-RU" sz="1400" i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рлық</a:t>
            </a:r>
            <a:r>
              <a:rPr lang="ru-RU" sz="1400" i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зеңінде</a:t>
            </a:r>
            <a:r>
              <a:rPr lang="ru-RU" sz="1400" i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)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6624770" y="2388844"/>
            <a:ext cx="260402" cy="4784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 23"/>
          <p:cNvSpPr/>
          <p:nvPr/>
        </p:nvSpPr>
        <p:spPr>
          <a:xfrm>
            <a:off x="0" y="0"/>
            <a:ext cx="10693400" cy="46905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rtlCol="0" anchor="ctr"/>
          <a:lstStyle/>
          <a:p>
            <a:pPr algn="ctr"/>
            <a:r>
              <a:rPr lang="ru-RU" sz="2300" b="1" dirty="0" err="1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Индустриялық</a:t>
            </a:r>
            <a:r>
              <a:rPr lang="ru-RU" sz="2300" b="1" dirty="0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 </a:t>
            </a:r>
            <a:r>
              <a:rPr lang="ru-RU" sz="2300" b="1" dirty="0" err="1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аймақтар</a:t>
            </a:r>
            <a:r>
              <a:rPr lang="ru-RU" sz="2300" b="1" dirty="0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 бойынша </a:t>
            </a:r>
            <a:r>
              <a:rPr lang="ru-RU" sz="2300" b="1" dirty="0" err="1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жалпы</a:t>
            </a:r>
            <a:r>
              <a:rPr lang="ru-RU" sz="2300" b="1" dirty="0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 </a:t>
            </a:r>
            <a:r>
              <a:rPr lang="ru-RU" sz="2300" b="1" dirty="0" err="1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көрсеткіштері</a:t>
            </a:r>
            <a:endParaRPr lang="ru-RU" sz="2300" b="1" dirty="0">
              <a:solidFill>
                <a:prstClr val="white"/>
              </a:solidFill>
              <a:latin typeface="Arial" pitchFamily="34" charset="0"/>
              <a:ea typeface="Segoe UI" pitchFamily="34" charset="0"/>
              <a:cs typeface="Arial" pitchFamily="34" charset="0"/>
            </a:endParaRPr>
          </a:p>
        </p:txBody>
      </p:sp>
      <p:sp>
        <p:nvSpPr>
          <p:cNvPr id="25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8397548" y="7278265"/>
            <a:ext cx="2406015" cy="382332"/>
          </a:xfrm>
          <a:prstGeom prst="rect">
            <a:avLst/>
          </a:prstGeom>
        </p:spPr>
        <p:txBody>
          <a:bodyPr lIns="104306" tIns="52153" rIns="104306" bIns="52153"/>
          <a:lstStyle/>
          <a:p>
            <a:pPr algn="r"/>
            <a:fld id="{E7E4A56A-6CFF-441F-ACD8-679C2267E3E3}" type="slidenum">
              <a:rPr lang="ru-RU" smtClean="0">
                <a:solidFill>
                  <a:schemeClr val="tx1"/>
                </a:solidFill>
              </a:rPr>
              <a:pPr algn="r"/>
              <a:t>4</a:t>
            </a:fld>
            <a:endParaRPr lang="ru-RU" dirty="0">
              <a:solidFill>
                <a:schemeClr val="tx1"/>
              </a:solidFill>
            </a:endParaRPr>
          </a:p>
        </p:txBody>
      </p:sp>
      <p:grpSp>
        <p:nvGrpSpPr>
          <p:cNvPr id="27" name="Группа 26"/>
          <p:cNvGrpSpPr/>
          <p:nvPr/>
        </p:nvGrpSpPr>
        <p:grpSpPr>
          <a:xfrm>
            <a:off x="8275280" y="5748955"/>
            <a:ext cx="2475265" cy="1010123"/>
            <a:chOff x="7185909" y="1673570"/>
            <a:chExt cx="1594930" cy="649835"/>
          </a:xfrm>
        </p:grpSpPr>
        <p:sp>
          <p:nvSpPr>
            <p:cNvPr id="28" name="Скругленный прямоугольник 27"/>
            <p:cNvSpPr/>
            <p:nvPr/>
          </p:nvSpPr>
          <p:spPr>
            <a:xfrm>
              <a:off x="7252548" y="1715905"/>
              <a:ext cx="1442689" cy="533411"/>
            </a:xfrm>
            <a:prstGeom prst="roundRect">
              <a:avLst>
                <a:gd name="adj" fmla="val 7437"/>
              </a:avLst>
            </a:prstGeom>
            <a:noFill/>
            <a:ln w="12700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3200">
                <a:solidFill>
                  <a:prstClr val="white"/>
                </a:solidFill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7185909" y="1673570"/>
              <a:ext cx="1594930" cy="6498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b="1" dirty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2,6 </a:t>
              </a:r>
              <a:r>
                <a:rPr lang="ru-RU" b="1" dirty="0" err="1" smtClean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тг</a:t>
              </a:r>
              <a:r>
                <a:rPr lang="ru-RU" b="1" dirty="0" smtClean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.</a:t>
              </a:r>
              <a:endParaRPr lang="ru-RU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cs typeface="Arial" pitchFamily="34" charset="0"/>
              </a:endParaRPr>
            </a:p>
            <a:p>
              <a:pPr algn="ctr"/>
              <a:r>
                <a:rPr lang="ru-RU" sz="1200" dirty="0" err="1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Бюджетке</a:t>
              </a:r>
              <a:r>
                <a:rPr lang="ru-RU" sz="1200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sz="1200" dirty="0" err="1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салынған</a:t>
              </a:r>
              <a:r>
                <a:rPr lang="ru-RU" sz="1200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sz="1200" dirty="0" err="1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инвестицияларды</a:t>
              </a:r>
              <a:r>
                <a:rPr lang="ru-RU" sz="1200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sz="1200" dirty="0" err="1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тарту</a:t>
              </a:r>
              <a:r>
                <a:rPr lang="ru-RU" sz="1200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sz="1200" dirty="0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/>
              </a:r>
              <a:br>
                <a:rPr lang="ru-RU" sz="1200" dirty="0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</a:br>
              <a:r>
                <a:rPr lang="ru-RU" sz="1200" dirty="0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1 </a:t>
              </a:r>
              <a:r>
                <a:rPr lang="ru-RU" sz="1200" dirty="0" err="1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теңге</a:t>
              </a:r>
              <a:endParaRPr lang="ru-RU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4" name="Группа 33"/>
          <p:cNvGrpSpPr/>
          <p:nvPr/>
        </p:nvGrpSpPr>
        <p:grpSpPr>
          <a:xfrm>
            <a:off x="295339" y="495847"/>
            <a:ext cx="10311838" cy="5215008"/>
            <a:chOff x="261833" y="606848"/>
            <a:chExt cx="6794248" cy="3740690"/>
          </a:xfrm>
        </p:grpSpPr>
        <p:grpSp>
          <p:nvGrpSpPr>
            <p:cNvPr id="35" name="Group 36"/>
            <p:cNvGrpSpPr>
              <a:grpSpLocks/>
            </p:cNvGrpSpPr>
            <p:nvPr>
              <p:custDataLst>
                <p:tags r:id="rId1"/>
              </p:custDataLst>
            </p:nvPr>
          </p:nvGrpSpPr>
          <p:grpSpPr bwMode="auto">
            <a:xfrm>
              <a:off x="276616" y="606848"/>
              <a:ext cx="6574846" cy="3740690"/>
              <a:chOff x="27932" y="1780710"/>
              <a:chExt cx="6102148" cy="3665845"/>
            </a:xfrm>
            <a:solidFill>
              <a:schemeClr val="bg1"/>
            </a:solidFill>
            <a:effectLst/>
          </p:grpSpPr>
          <p:sp>
            <p:nvSpPr>
              <p:cNvPr id="99" name="Freeform 3"/>
              <p:cNvSpPr>
                <a:spLocks noEditPoints="1"/>
              </p:cNvSpPr>
              <p:nvPr/>
            </p:nvSpPr>
            <p:spPr bwMode="auto">
              <a:xfrm>
                <a:off x="2150930" y="1963992"/>
                <a:ext cx="1129218" cy="1602294"/>
              </a:xfrm>
              <a:custGeom>
                <a:avLst/>
                <a:gdLst/>
                <a:ahLst/>
                <a:cxnLst>
                  <a:cxn ang="0">
                    <a:pos x="119" y="6"/>
                  </a:cxn>
                  <a:cxn ang="0">
                    <a:pos x="121" y="17"/>
                  </a:cxn>
                  <a:cxn ang="0">
                    <a:pos x="118" y="22"/>
                  </a:cxn>
                  <a:cxn ang="0">
                    <a:pos x="121" y="29"/>
                  </a:cxn>
                  <a:cxn ang="0">
                    <a:pos x="118" y="33"/>
                  </a:cxn>
                  <a:cxn ang="0">
                    <a:pos x="123" y="38"/>
                  </a:cxn>
                  <a:cxn ang="0">
                    <a:pos x="117" y="48"/>
                  </a:cxn>
                  <a:cxn ang="0">
                    <a:pos x="114" y="62"/>
                  </a:cxn>
                  <a:cxn ang="0">
                    <a:pos x="110" y="79"/>
                  </a:cxn>
                  <a:cxn ang="0">
                    <a:pos x="103" y="96"/>
                  </a:cxn>
                  <a:cxn ang="0">
                    <a:pos x="109" y="107"/>
                  </a:cxn>
                  <a:cxn ang="0">
                    <a:pos x="119" y="113"/>
                  </a:cxn>
                  <a:cxn ang="0">
                    <a:pos x="134" y="121"/>
                  </a:cxn>
                  <a:cxn ang="0">
                    <a:pos x="150" y="126"/>
                  </a:cxn>
                  <a:cxn ang="0">
                    <a:pos x="149" y="135"/>
                  </a:cxn>
                  <a:cxn ang="0">
                    <a:pos x="129" y="157"/>
                  </a:cxn>
                  <a:cxn ang="0">
                    <a:pos x="120" y="169"/>
                  </a:cxn>
                  <a:cxn ang="0">
                    <a:pos x="108" y="180"/>
                  </a:cxn>
                  <a:cxn ang="0">
                    <a:pos x="90" y="182"/>
                  </a:cxn>
                  <a:cxn ang="0">
                    <a:pos x="75" y="197"/>
                  </a:cxn>
                  <a:cxn ang="0">
                    <a:pos x="68" y="194"/>
                  </a:cxn>
                  <a:cxn ang="0">
                    <a:pos x="52" y="180"/>
                  </a:cxn>
                  <a:cxn ang="0">
                    <a:pos x="46" y="173"/>
                  </a:cxn>
                  <a:cxn ang="0">
                    <a:pos x="39" y="170"/>
                  </a:cxn>
                  <a:cxn ang="0">
                    <a:pos x="42" y="158"/>
                  </a:cxn>
                  <a:cxn ang="0">
                    <a:pos x="50" y="148"/>
                  </a:cxn>
                  <a:cxn ang="0">
                    <a:pos x="46" y="122"/>
                  </a:cxn>
                  <a:cxn ang="0">
                    <a:pos x="28" y="98"/>
                  </a:cxn>
                  <a:cxn ang="0">
                    <a:pos x="14" y="90"/>
                  </a:cxn>
                  <a:cxn ang="0">
                    <a:pos x="4" y="82"/>
                  </a:cxn>
                  <a:cxn ang="0">
                    <a:pos x="0" y="78"/>
                  </a:cxn>
                  <a:cxn ang="0">
                    <a:pos x="5" y="75"/>
                  </a:cxn>
                  <a:cxn ang="0">
                    <a:pos x="9" y="73"/>
                  </a:cxn>
                  <a:cxn ang="0">
                    <a:pos x="15" y="69"/>
                  </a:cxn>
                  <a:cxn ang="0">
                    <a:pos x="17" y="63"/>
                  </a:cxn>
                  <a:cxn ang="0">
                    <a:pos x="14" y="57"/>
                  </a:cxn>
                  <a:cxn ang="0">
                    <a:pos x="18" y="50"/>
                  </a:cxn>
                  <a:cxn ang="0">
                    <a:pos x="36" y="50"/>
                  </a:cxn>
                  <a:cxn ang="0">
                    <a:pos x="39" y="47"/>
                  </a:cxn>
                  <a:cxn ang="0">
                    <a:pos x="38" y="42"/>
                  </a:cxn>
                  <a:cxn ang="0">
                    <a:pos x="34" y="40"/>
                  </a:cxn>
                  <a:cxn ang="0">
                    <a:pos x="28" y="37"/>
                  </a:cxn>
                  <a:cxn ang="0">
                    <a:pos x="23" y="35"/>
                  </a:cxn>
                  <a:cxn ang="0">
                    <a:pos x="31" y="29"/>
                  </a:cxn>
                  <a:cxn ang="0">
                    <a:pos x="28" y="28"/>
                  </a:cxn>
                  <a:cxn ang="0">
                    <a:pos x="21" y="26"/>
                  </a:cxn>
                  <a:cxn ang="0">
                    <a:pos x="23" y="23"/>
                  </a:cxn>
                  <a:cxn ang="0">
                    <a:pos x="23" y="20"/>
                  </a:cxn>
                  <a:cxn ang="0">
                    <a:pos x="22" y="17"/>
                  </a:cxn>
                  <a:cxn ang="0">
                    <a:pos x="31" y="18"/>
                  </a:cxn>
                  <a:cxn ang="0">
                    <a:pos x="54" y="18"/>
                  </a:cxn>
                  <a:cxn ang="0">
                    <a:pos x="63" y="15"/>
                  </a:cxn>
                  <a:cxn ang="0">
                    <a:pos x="69" y="13"/>
                  </a:cxn>
                  <a:cxn ang="0">
                    <a:pos x="80" y="10"/>
                  </a:cxn>
                  <a:cxn ang="0">
                    <a:pos x="88" y="12"/>
                  </a:cxn>
                  <a:cxn ang="0">
                    <a:pos x="98" y="10"/>
                  </a:cxn>
                  <a:cxn ang="0">
                    <a:pos x="100" y="5"/>
                  </a:cxn>
                  <a:cxn ang="0">
                    <a:pos x="104" y="3"/>
                  </a:cxn>
                  <a:cxn ang="0">
                    <a:pos x="109" y="1"/>
                  </a:cxn>
                  <a:cxn ang="0">
                    <a:pos x="9" y="86"/>
                  </a:cxn>
                  <a:cxn ang="0">
                    <a:pos x="11" y="85"/>
                  </a:cxn>
                </a:cxnLst>
                <a:rect l="0" t="0" r="r" b="b"/>
                <a:pathLst>
                  <a:path w="151" h="199">
                    <a:moveTo>
                      <a:pt x="109" y="0"/>
                    </a:moveTo>
                    <a:lnTo>
                      <a:pt x="112" y="0"/>
                    </a:lnTo>
                    <a:lnTo>
                      <a:pt x="114" y="0"/>
                    </a:lnTo>
                    <a:lnTo>
                      <a:pt x="116" y="0"/>
                    </a:lnTo>
                    <a:lnTo>
                      <a:pt x="118" y="0"/>
                    </a:lnTo>
                    <a:lnTo>
                      <a:pt x="118" y="1"/>
                    </a:lnTo>
                    <a:lnTo>
                      <a:pt x="118" y="1"/>
                    </a:lnTo>
                    <a:lnTo>
                      <a:pt x="119" y="2"/>
                    </a:lnTo>
                    <a:lnTo>
                      <a:pt x="119" y="2"/>
                    </a:lnTo>
                    <a:lnTo>
                      <a:pt x="119" y="3"/>
                    </a:lnTo>
                    <a:lnTo>
                      <a:pt x="119" y="4"/>
                    </a:lnTo>
                    <a:lnTo>
                      <a:pt x="119" y="5"/>
                    </a:lnTo>
                    <a:lnTo>
                      <a:pt x="119" y="6"/>
                    </a:lnTo>
                    <a:lnTo>
                      <a:pt x="119" y="7"/>
                    </a:lnTo>
                    <a:lnTo>
                      <a:pt x="119" y="8"/>
                    </a:lnTo>
                    <a:lnTo>
                      <a:pt x="119" y="9"/>
                    </a:lnTo>
                    <a:lnTo>
                      <a:pt x="119" y="11"/>
                    </a:lnTo>
                    <a:lnTo>
                      <a:pt x="119" y="12"/>
                    </a:lnTo>
                    <a:lnTo>
                      <a:pt x="119" y="12"/>
                    </a:lnTo>
                    <a:lnTo>
                      <a:pt x="119" y="13"/>
                    </a:lnTo>
                    <a:lnTo>
                      <a:pt x="120" y="14"/>
                    </a:lnTo>
                    <a:lnTo>
                      <a:pt x="120" y="15"/>
                    </a:lnTo>
                    <a:lnTo>
                      <a:pt x="120" y="15"/>
                    </a:lnTo>
                    <a:lnTo>
                      <a:pt x="120" y="16"/>
                    </a:lnTo>
                    <a:lnTo>
                      <a:pt x="121" y="16"/>
                    </a:lnTo>
                    <a:lnTo>
                      <a:pt x="121" y="17"/>
                    </a:lnTo>
                    <a:lnTo>
                      <a:pt x="121" y="17"/>
                    </a:lnTo>
                    <a:lnTo>
                      <a:pt x="121" y="18"/>
                    </a:lnTo>
                    <a:lnTo>
                      <a:pt x="121" y="18"/>
                    </a:lnTo>
                    <a:lnTo>
                      <a:pt x="121" y="19"/>
                    </a:lnTo>
                    <a:lnTo>
                      <a:pt x="121" y="19"/>
                    </a:lnTo>
                    <a:lnTo>
                      <a:pt x="121" y="20"/>
                    </a:lnTo>
                    <a:lnTo>
                      <a:pt x="120" y="20"/>
                    </a:lnTo>
                    <a:lnTo>
                      <a:pt x="120" y="21"/>
                    </a:lnTo>
                    <a:lnTo>
                      <a:pt x="120" y="21"/>
                    </a:lnTo>
                    <a:lnTo>
                      <a:pt x="119" y="21"/>
                    </a:lnTo>
                    <a:lnTo>
                      <a:pt x="119" y="21"/>
                    </a:lnTo>
                    <a:lnTo>
                      <a:pt x="118" y="21"/>
                    </a:lnTo>
                    <a:lnTo>
                      <a:pt x="118" y="22"/>
                    </a:lnTo>
                    <a:lnTo>
                      <a:pt x="117" y="22"/>
                    </a:lnTo>
                    <a:lnTo>
                      <a:pt x="117" y="22"/>
                    </a:lnTo>
                    <a:lnTo>
                      <a:pt x="116" y="22"/>
                    </a:lnTo>
                    <a:lnTo>
                      <a:pt x="117" y="22"/>
                    </a:lnTo>
                    <a:lnTo>
                      <a:pt x="117" y="23"/>
                    </a:lnTo>
                    <a:lnTo>
                      <a:pt x="118" y="24"/>
                    </a:lnTo>
                    <a:lnTo>
                      <a:pt x="118" y="24"/>
                    </a:lnTo>
                    <a:lnTo>
                      <a:pt x="119" y="25"/>
                    </a:lnTo>
                    <a:lnTo>
                      <a:pt x="119" y="26"/>
                    </a:lnTo>
                    <a:lnTo>
                      <a:pt x="120" y="27"/>
                    </a:lnTo>
                    <a:lnTo>
                      <a:pt x="120" y="28"/>
                    </a:lnTo>
                    <a:lnTo>
                      <a:pt x="121" y="28"/>
                    </a:lnTo>
                    <a:lnTo>
                      <a:pt x="121" y="29"/>
                    </a:lnTo>
                    <a:lnTo>
                      <a:pt x="121" y="29"/>
                    </a:lnTo>
                    <a:lnTo>
                      <a:pt x="121" y="30"/>
                    </a:lnTo>
                    <a:lnTo>
                      <a:pt x="121" y="30"/>
                    </a:lnTo>
                    <a:lnTo>
                      <a:pt x="121" y="30"/>
                    </a:lnTo>
                    <a:lnTo>
                      <a:pt x="121" y="31"/>
                    </a:lnTo>
                    <a:lnTo>
                      <a:pt x="121" y="31"/>
                    </a:lnTo>
                    <a:lnTo>
                      <a:pt x="121" y="31"/>
                    </a:lnTo>
                    <a:lnTo>
                      <a:pt x="120" y="32"/>
                    </a:lnTo>
                    <a:lnTo>
                      <a:pt x="120" y="32"/>
                    </a:lnTo>
                    <a:lnTo>
                      <a:pt x="119" y="32"/>
                    </a:lnTo>
                    <a:lnTo>
                      <a:pt x="119" y="33"/>
                    </a:lnTo>
                    <a:lnTo>
                      <a:pt x="118" y="33"/>
                    </a:lnTo>
                    <a:lnTo>
                      <a:pt x="118" y="33"/>
                    </a:lnTo>
                    <a:lnTo>
                      <a:pt x="118" y="34"/>
                    </a:lnTo>
                    <a:lnTo>
                      <a:pt x="118" y="34"/>
                    </a:lnTo>
                    <a:lnTo>
                      <a:pt x="118" y="35"/>
                    </a:lnTo>
                    <a:lnTo>
                      <a:pt x="119" y="35"/>
                    </a:lnTo>
                    <a:lnTo>
                      <a:pt x="119" y="35"/>
                    </a:lnTo>
                    <a:lnTo>
                      <a:pt x="119" y="35"/>
                    </a:lnTo>
                    <a:lnTo>
                      <a:pt x="120" y="36"/>
                    </a:lnTo>
                    <a:lnTo>
                      <a:pt x="121" y="36"/>
                    </a:lnTo>
                    <a:lnTo>
                      <a:pt x="122" y="36"/>
                    </a:lnTo>
                    <a:lnTo>
                      <a:pt x="122" y="36"/>
                    </a:lnTo>
                    <a:lnTo>
                      <a:pt x="123" y="37"/>
                    </a:lnTo>
                    <a:lnTo>
                      <a:pt x="123" y="37"/>
                    </a:lnTo>
                    <a:lnTo>
                      <a:pt x="123" y="38"/>
                    </a:lnTo>
                    <a:lnTo>
                      <a:pt x="123" y="38"/>
                    </a:lnTo>
                    <a:lnTo>
                      <a:pt x="123" y="39"/>
                    </a:lnTo>
                    <a:lnTo>
                      <a:pt x="122" y="40"/>
                    </a:lnTo>
                    <a:lnTo>
                      <a:pt x="122" y="42"/>
                    </a:lnTo>
                    <a:lnTo>
                      <a:pt x="121" y="44"/>
                    </a:lnTo>
                    <a:lnTo>
                      <a:pt x="121" y="45"/>
                    </a:lnTo>
                    <a:lnTo>
                      <a:pt x="121" y="45"/>
                    </a:lnTo>
                    <a:lnTo>
                      <a:pt x="120" y="46"/>
                    </a:lnTo>
                    <a:lnTo>
                      <a:pt x="120" y="47"/>
                    </a:lnTo>
                    <a:lnTo>
                      <a:pt x="119" y="48"/>
                    </a:lnTo>
                    <a:lnTo>
                      <a:pt x="119" y="48"/>
                    </a:lnTo>
                    <a:lnTo>
                      <a:pt x="118" y="48"/>
                    </a:lnTo>
                    <a:lnTo>
                      <a:pt x="117" y="48"/>
                    </a:lnTo>
                    <a:lnTo>
                      <a:pt x="117" y="48"/>
                    </a:lnTo>
                    <a:lnTo>
                      <a:pt x="116" y="48"/>
                    </a:lnTo>
                    <a:lnTo>
                      <a:pt x="116" y="48"/>
                    </a:lnTo>
                    <a:lnTo>
                      <a:pt x="115" y="48"/>
                    </a:lnTo>
                    <a:lnTo>
                      <a:pt x="114" y="48"/>
                    </a:lnTo>
                    <a:lnTo>
                      <a:pt x="115" y="49"/>
                    </a:lnTo>
                    <a:lnTo>
                      <a:pt x="115" y="51"/>
                    </a:lnTo>
                    <a:lnTo>
                      <a:pt x="114" y="53"/>
                    </a:lnTo>
                    <a:lnTo>
                      <a:pt x="114" y="56"/>
                    </a:lnTo>
                    <a:lnTo>
                      <a:pt x="114" y="58"/>
                    </a:lnTo>
                    <a:lnTo>
                      <a:pt x="114" y="60"/>
                    </a:lnTo>
                    <a:lnTo>
                      <a:pt x="114" y="61"/>
                    </a:lnTo>
                    <a:lnTo>
                      <a:pt x="114" y="62"/>
                    </a:lnTo>
                    <a:lnTo>
                      <a:pt x="115" y="63"/>
                    </a:lnTo>
                    <a:lnTo>
                      <a:pt x="115" y="64"/>
                    </a:lnTo>
                    <a:lnTo>
                      <a:pt x="115" y="65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6" y="68"/>
                    </a:lnTo>
                    <a:lnTo>
                      <a:pt x="115" y="70"/>
                    </a:lnTo>
                    <a:lnTo>
                      <a:pt x="115" y="72"/>
                    </a:lnTo>
                    <a:lnTo>
                      <a:pt x="114" y="74"/>
                    </a:lnTo>
                    <a:lnTo>
                      <a:pt x="113" y="75"/>
                    </a:lnTo>
                    <a:lnTo>
                      <a:pt x="112" y="77"/>
                    </a:lnTo>
                    <a:lnTo>
                      <a:pt x="111" y="78"/>
                    </a:lnTo>
                    <a:lnTo>
                      <a:pt x="110" y="79"/>
                    </a:lnTo>
                    <a:lnTo>
                      <a:pt x="109" y="81"/>
                    </a:lnTo>
                    <a:lnTo>
                      <a:pt x="108" y="82"/>
                    </a:lnTo>
                    <a:lnTo>
                      <a:pt x="107" y="83"/>
                    </a:lnTo>
                    <a:lnTo>
                      <a:pt x="106" y="84"/>
                    </a:lnTo>
                    <a:lnTo>
                      <a:pt x="105" y="85"/>
                    </a:lnTo>
                    <a:lnTo>
                      <a:pt x="104" y="86"/>
                    </a:lnTo>
                    <a:lnTo>
                      <a:pt x="101" y="88"/>
                    </a:lnTo>
                    <a:lnTo>
                      <a:pt x="101" y="89"/>
                    </a:lnTo>
                    <a:lnTo>
                      <a:pt x="102" y="90"/>
                    </a:lnTo>
                    <a:lnTo>
                      <a:pt x="102" y="91"/>
                    </a:lnTo>
                    <a:lnTo>
                      <a:pt x="102" y="92"/>
                    </a:lnTo>
                    <a:lnTo>
                      <a:pt x="103" y="94"/>
                    </a:lnTo>
                    <a:lnTo>
                      <a:pt x="103" y="96"/>
                    </a:lnTo>
                    <a:lnTo>
                      <a:pt x="103" y="98"/>
                    </a:lnTo>
                    <a:lnTo>
                      <a:pt x="103" y="100"/>
                    </a:lnTo>
                    <a:lnTo>
                      <a:pt x="103" y="102"/>
                    </a:lnTo>
                    <a:lnTo>
                      <a:pt x="103" y="105"/>
                    </a:lnTo>
                    <a:lnTo>
                      <a:pt x="103" y="105"/>
                    </a:lnTo>
                    <a:lnTo>
                      <a:pt x="103" y="106"/>
                    </a:lnTo>
                    <a:lnTo>
                      <a:pt x="104" y="106"/>
                    </a:lnTo>
                    <a:lnTo>
                      <a:pt x="104" y="107"/>
                    </a:lnTo>
                    <a:lnTo>
                      <a:pt x="105" y="107"/>
                    </a:lnTo>
                    <a:lnTo>
                      <a:pt x="106" y="107"/>
                    </a:lnTo>
                    <a:lnTo>
                      <a:pt x="107" y="107"/>
                    </a:lnTo>
                    <a:lnTo>
                      <a:pt x="108" y="107"/>
                    </a:lnTo>
                    <a:lnTo>
                      <a:pt x="109" y="107"/>
                    </a:lnTo>
                    <a:lnTo>
                      <a:pt x="111" y="106"/>
                    </a:lnTo>
                    <a:lnTo>
                      <a:pt x="112" y="106"/>
                    </a:lnTo>
                    <a:lnTo>
                      <a:pt x="113" y="106"/>
                    </a:lnTo>
                    <a:lnTo>
                      <a:pt x="114" y="106"/>
                    </a:lnTo>
                    <a:lnTo>
                      <a:pt x="114" y="106"/>
                    </a:lnTo>
                    <a:lnTo>
                      <a:pt x="115" y="108"/>
                    </a:lnTo>
                    <a:lnTo>
                      <a:pt x="115" y="109"/>
                    </a:lnTo>
                    <a:lnTo>
                      <a:pt x="116" y="109"/>
                    </a:lnTo>
                    <a:lnTo>
                      <a:pt x="116" y="110"/>
                    </a:lnTo>
                    <a:lnTo>
                      <a:pt x="117" y="111"/>
                    </a:lnTo>
                    <a:lnTo>
                      <a:pt x="117" y="112"/>
                    </a:lnTo>
                    <a:lnTo>
                      <a:pt x="118" y="113"/>
                    </a:lnTo>
                    <a:lnTo>
                      <a:pt x="119" y="113"/>
                    </a:lnTo>
                    <a:lnTo>
                      <a:pt x="120" y="114"/>
                    </a:lnTo>
                    <a:lnTo>
                      <a:pt x="121" y="114"/>
                    </a:lnTo>
                    <a:lnTo>
                      <a:pt x="122" y="115"/>
                    </a:lnTo>
                    <a:lnTo>
                      <a:pt x="123" y="115"/>
                    </a:lnTo>
                    <a:lnTo>
                      <a:pt x="125" y="115"/>
                    </a:lnTo>
                    <a:lnTo>
                      <a:pt x="126" y="115"/>
                    </a:lnTo>
                    <a:lnTo>
                      <a:pt x="128" y="115"/>
                    </a:lnTo>
                    <a:lnTo>
                      <a:pt x="129" y="115"/>
                    </a:lnTo>
                    <a:lnTo>
                      <a:pt x="130" y="116"/>
                    </a:lnTo>
                    <a:lnTo>
                      <a:pt x="131" y="117"/>
                    </a:lnTo>
                    <a:lnTo>
                      <a:pt x="132" y="118"/>
                    </a:lnTo>
                    <a:lnTo>
                      <a:pt x="132" y="119"/>
                    </a:lnTo>
                    <a:lnTo>
                      <a:pt x="134" y="121"/>
                    </a:lnTo>
                    <a:lnTo>
                      <a:pt x="136" y="123"/>
                    </a:lnTo>
                    <a:lnTo>
                      <a:pt x="139" y="123"/>
                    </a:lnTo>
                    <a:lnTo>
                      <a:pt x="141" y="123"/>
                    </a:lnTo>
                    <a:lnTo>
                      <a:pt x="143" y="123"/>
                    </a:lnTo>
                    <a:lnTo>
                      <a:pt x="144" y="123"/>
                    </a:lnTo>
                    <a:lnTo>
                      <a:pt x="145" y="123"/>
                    </a:lnTo>
                    <a:lnTo>
                      <a:pt x="146" y="123"/>
                    </a:lnTo>
                    <a:lnTo>
                      <a:pt x="147" y="124"/>
                    </a:lnTo>
                    <a:lnTo>
                      <a:pt x="148" y="124"/>
                    </a:lnTo>
                    <a:lnTo>
                      <a:pt x="148" y="124"/>
                    </a:lnTo>
                    <a:lnTo>
                      <a:pt x="149" y="125"/>
                    </a:lnTo>
                    <a:lnTo>
                      <a:pt x="150" y="125"/>
                    </a:lnTo>
                    <a:lnTo>
                      <a:pt x="150" y="126"/>
                    </a:lnTo>
                    <a:lnTo>
                      <a:pt x="151" y="126"/>
                    </a:lnTo>
                    <a:lnTo>
                      <a:pt x="151" y="127"/>
                    </a:lnTo>
                    <a:lnTo>
                      <a:pt x="151" y="128"/>
                    </a:lnTo>
                    <a:lnTo>
                      <a:pt x="151" y="129"/>
                    </a:lnTo>
                    <a:lnTo>
                      <a:pt x="151" y="129"/>
                    </a:lnTo>
                    <a:lnTo>
                      <a:pt x="151" y="130"/>
                    </a:lnTo>
                    <a:lnTo>
                      <a:pt x="151" y="130"/>
                    </a:lnTo>
                    <a:lnTo>
                      <a:pt x="150" y="131"/>
                    </a:lnTo>
                    <a:lnTo>
                      <a:pt x="150" y="132"/>
                    </a:lnTo>
                    <a:lnTo>
                      <a:pt x="149" y="133"/>
                    </a:lnTo>
                    <a:lnTo>
                      <a:pt x="149" y="133"/>
                    </a:lnTo>
                    <a:lnTo>
                      <a:pt x="149" y="134"/>
                    </a:lnTo>
                    <a:lnTo>
                      <a:pt x="149" y="135"/>
                    </a:lnTo>
                    <a:lnTo>
                      <a:pt x="149" y="135"/>
                    </a:lnTo>
                    <a:lnTo>
                      <a:pt x="149" y="136"/>
                    </a:lnTo>
                    <a:lnTo>
                      <a:pt x="147" y="138"/>
                    </a:lnTo>
                    <a:lnTo>
                      <a:pt x="146" y="139"/>
                    </a:lnTo>
                    <a:lnTo>
                      <a:pt x="144" y="141"/>
                    </a:lnTo>
                    <a:lnTo>
                      <a:pt x="142" y="143"/>
                    </a:lnTo>
                    <a:lnTo>
                      <a:pt x="141" y="144"/>
                    </a:lnTo>
                    <a:lnTo>
                      <a:pt x="139" y="146"/>
                    </a:lnTo>
                    <a:lnTo>
                      <a:pt x="136" y="150"/>
                    </a:lnTo>
                    <a:lnTo>
                      <a:pt x="134" y="152"/>
                    </a:lnTo>
                    <a:lnTo>
                      <a:pt x="133" y="154"/>
                    </a:lnTo>
                    <a:lnTo>
                      <a:pt x="131" y="155"/>
                    </a:lnTo>
                    <a:lnTo>
                      <a:pt x="129" y="157"/>
                    </a:lnTo>
                    <a:lnTo>
                      <a:pt x="127" y="159"/>
                    </a:lnTo>
                    <a:lnTo>
                      <a:pt x="125" y="160"/>
                    </a:lnTo>
                    <a:lnTo>
                      <a:pt x="123" y="162"/>
                    </a:lnTo>
                    <a:lnTo>
                      <a:pt x="122" y="162"/>
                    </a:lnTo>
                    <a:lnTo>
                      <a:pt x="121" y="163"/>
                    </a:lnTo>
                    <a:lnTo>
                      <a:pt x="121" y="164"/>
                    </a:lnTo>
                    <a:lnTo>
                      <a:pt x="121" y="165"/>
                    </a:lnTo>
                    <a:lnTo>
                      <a:pt x="121" y="165"/>
                    </a:lnTo>
                    <a:lnTo>
                      <a:pt x="121" y="166"/>
                    </a:lnTo>
                    <a:lnTo>
                      <a:pt x="121" y="166"/>
                    </a:lnTo>
                    <a:lnTo>
                      <a:pt x="121" y="167"/>
                    </a:lnTo>
                    <a:lnTo>
                      <a:pt x="120" y="168"/>
                    </a:lnTo>
                    <a:lnTo>
                      <a:pt x="120" y="169"/>
                    </a:lnTo>
                    <a:lnTo>
                      <a:pt x="119" y="169"/>
                    </a:lnTo>
                    <a:lnTo>
                      <a:pt x="119" y="170"/>
                    </a:lnTo>
                    <a:lnTo>
                      <a:pt x="119" y="171"/>
                    </a:lnTo>
                    <a:lnTo>
                      <a:pt x="119" y="171"/>
                    </a:lnTo>
                    <a:lnTo>
                      <a:pt x="119" y="172"/>
                    </a:lnTo>
                    <a:lnTo>
                      <a:pt x="119" y="173"/>
                    </a:lnTo>
                    <a:lnTo>
                      <a:pt x="118" y="173"/>
                    </a:lnTo>
                    <a:lnTo>
                      <a:pt x="117" y="174"/>
                    </a:lnTo>
                    <a:lnTo>
                      <a:pt x="115" y="175"/>
                    </a:lnTo>
                    <a:lnTo>
                      <a:pt x="114" y="176"/>
                    </a:lnTo>
                    <a:lnTo>
                      <a:pt x="112" y="178"/>
                    </a:lnTo>
                    <a:lnTo>
                      <a:pt x="110" y="179"/>
                    </a:lnTo>
                    <a:lnTo>
                      <a:pt x="108" y="180"/>
                    </a:lnTo>
                    <a:lnTo>
                      <a:pt x="106" y="182"/>
                    </a:lnTo>
                    <a:lnTo>
                      <a:pt x="104" y="183"/>
                    </a:lnTo>
                    <a:lnTo>
                      <a:pt x="103" y="183"/>
                    </a:lnTo>
                    <a:lnTo>
                      <a:pt x="102" y="183"/>
                    </a:lnTo>
                    <a:lnTo>
                      <a:pt x="100" y="183"/>
                    </a:lnTo>
                    <a:lnTo>
                      <a:pt x="99" y="183"/>
                    </a:lnTo>
                    <a:lnTo>
                      <a:pt x="97" y="183"/>
                    </a:lnTo>
                    <a:lnTo>
                      <a:pt x="96" y="183"/>
                    </a:lnTo>
                    <a:lnTo>
                      <a:pt x="95" y="183"/>
                    </a:lnTo>
                    <a:lnTo>
                      <a:pt x="94" y="183"/>
                    </a:lnTo>
                    <a:lnTo>
                      <a:pt x="92" y="182"/>
                    </a:lnTo>
                    <a:lnTo>
                      <a:pt x="91" y="182"/>
                    </a:lnTo>
                    <a:lnTo>
                      <a:pt x="90" y="182"/>
                    </a:lnTo>
                    <a:lnTo>
                      <a:pt x="89" y="182"/>
                    </a:lnTo>
                    <a:lnTo>
                      <a:pt x="88" y="182"/>
                    </a:lnTo>
                    <a:lnTo>
                      <a:pt x="87" y="183"/>
                    </a:lnTo>
                    <a:lnTo>
                      <a:pt x="86" y="183"/>
                    </a:lnTo>
                    <a:lnTo>
                      <a:pt x="84" y="185"/>
                    </a:lnTo>
                    <a:lnTo>
                      <a:pt x="83" y="188"/>
                    </a:lnTo>
                    <a:lnTo>
                      <a:pt x="81" y="190"/>
                    </a:lnTo>
                    <a:lnTo>
                      <a:pt x="80" y="192"/>
                    </a:lnTo>
                    <a:lnTo>
                      <a:pt x="79" y="193"/>
                    </a:lnTo>
                    <a:lnTo>
                      <a:pt x="78" y="194"/>
                    </a:lnTo>
                    <a:lnTo>
                      <a:pt x="77" y="195"/>
                    </a:lnTo>
                    <a:lnTo>
                      <a:pt x="76" y="196"/>
                    </a:lnTo>
                    <a:lnTo>
                      <a:pt x="75" y="197"/>
                    </a:lnTo>
                    <a:lnTo>
                      <a:pt x="74" y="198"/>
                    </a:lnTo>
                    <a:lnTo>
                      <a:pt x="72" y="199"/>
                    </a:lnTo>
                    <a:lnTo>
                      <a:pt x="71" y="199"/>
                    </a:lnTo>
                    <a:lnTo>
                      <a:pt x="71" y="199"/>
                    </a:lnTo>
                    <a:lnTo>
                      <a:pt x="70" y="199"/>
                    </a:lnTo>
                    <a:lnTo>
                      <a:pt x="70" y="199"/>
                    </a:lnTo>
                    <a:lnTo>
                      <a:pt x="70" y="199"/>
                    </a:lnTo>
                    <a:lnTo>
                      <a:pt x="69" y="199"/>
                    </a:lnTo>
                    <a:lnTo>
                      <a:pt x="69" y="198"/>
                    </a:lnTo>
                    <a:lnTo>
                      <a:pt x="68" y="197"/>
                    </a:lnTo>
                    <a:lnTo>
                      <a:pt x="68" y="196"/>
                    </a:lnTo>
                    <a:lnTo>
                      <a:pt x="68" y="195"/>
                    </a:lnTo>
                    <a:lnTo>
                      <a:pt x="68" y="194"/>
                    </a:lnTo>
                    <a:lnTo>
                      <a:pt x="68" y="193"/>
                    </a:lnTo>
                    <a:lnTo>
                      <a:pt x="68" y="191"/>
                    </a:lnTo>
                    <a:lnTo>
                      <a:pt x="67" y="190"/>
                    </a:lnTo>
                    <a:lnTo>
                      <a:pt x="65" y="189"/>
                    </a:lnTo>
                    <a:lnTo>
                      <a:pt x="64" y="188"/>
                    </a:lnTo>
                    <a:lnTo>
                      <a:pt x="62" y="187"/>
                    </a:lnTo>
                    <a:lnTo>
                      <a:pt x="59" y="186"/>
                    </a:lnTo>
                    <a:lnTo>
                      <a:pt x="58" y="185"/>
                    </a:lnTo>
                    <a:lnTo>
                      <a:pt x="57" y="184"/>
                    </a:lnTo>
                    <a:lnTo>
                      <a:pt x="55" y="183"/>
                    </a:lnTo>
                    <a:lnTo>
                      <a:pt x="54" y="182"/>
                    </a:lnTo>
                    <a:lnTo>
                      <a:pt x="53" y="181"/>
                    </a:lnTo>
                    <a:lnTo>
                      <a:pt x="52" y="180"/>
                    </a:lnTo>
                    <a:lnTo>
                      <a:pt x="51" y="179"/>
                    </a:lnTo>
                    <a:lnTo>
                      <a:pt x="51" y="178"/>
                    </a:lnTo>
                    <a:lnTo>
                      <a:pt x="50" y="178"/>
                    </a:lnTo>
                    <a:lnTo>
                      <a:pt x="50" y="177"/>
                    </a:lnTo>
                    <a:lnTo>
                      <a:pt x="50" y="176"/>
                    </a:lnTo>
                    <a:lnTo>
                      <a:pt x="50" y="175"/>
                    </a:lnTo>
                    <a:lnTo>
                      <a:pt x="50" y="174"/>
                    </a:lnTo>
                    <a:lnTo>
                      <a:pt x="49" y="173"/>
                    </a:lnTo>
                    <a:lnTo>
                      <a:pt x="49" y="173"/>
                    </a:lnTo>
                    <a:lnTo>
                      <a:pt x="48" y="173"/>
                    </a:lnTo>
                    <a:lnTo>
                      <a:pt x="47" y="173"/>
                    </a:lnTo>
                    <a:lnTo>
                      <a:pt x="46" y="173"/>
                    </a:lnTo>
                    <a:lnTo>
                      <a:pt x="46" y="173"/>
                    </a:lnTo>
                    <a:lnTo>
                      <a:pt x="45" y="173"/>
                    </a:lnTo>
                    <a:lnTo>
                      <a:pt x="45" y="174"/>
                    </a:lnTo>
                    <a:lnTo>
                      <a:pt x="44" y="174"/>
                    </a:lnTo>
                    <a:lnTo>
                      <a:pt x="43" y="174"/>
                    </a:lnTo>
                    <a:lnTo>
                      <a:pt x="43" y="174"/>
                    </a:lnTo>
                    <a:lnTo>
                      <a:pt x="43" y="173"/>
                    </a:lnTo>
                    <a:lnTo>
                      <a:pt x="42" y="173"/>
                    </a:lnTo>
                    <a:lnTo>
                      <a:pt x="42" y="173"/>
                    </a:lnTo>
                    <a:lnTo>
                      <a:pt x="41" y="173"/>
                    </a:lnTo>
                    <a:lnTo>
                      <a:pt x="41" y="172"/>
                    </a:lnTo>
                    <a:lnTo>
                      <a:pt x="40" y="172"/>
                    </a:lnTo>
                    <a:lnTo>
                      <a:pt x="39" y="171"/>
                    </a:lnTo>
                    <a:lnTo>
                      <a:pt x="39" y="170"/>
                    </a:lnTo>
                    <a:lnTo>
                      <a:pt x="39" y="169"/>
                    </a:lnTo>
                    <a:lnTo>
                      <a:pt x="39" y="168"/>
                    </a:lnTo>
                    <a:lnTo>
                      <a:pt x="39" y="167"/>
                    </a:lnTo>
                    <a:lnTo>
                      <a:pt x="39" y="167"/>
                    </a:lnTo>
                    <a:lnTo>
                      <a:pt x="40" y="166"/>
                    </a:lnTo>
                    <a:lnTo>
                      <a:pt x="40" y="164"/>
                    </a:lnTo>
                    <a:lnTo>
                      <a:pt x="40" y="163"/>
                    </a:lnTo>
                    <a:lnTo>
                      <a:pt x="41" y="161"/>
                    </a:lnTo>
                    <a:lnTo>
                      <a:pt x="41" y="161"/>
                    </a:lnTo>
                    <a:lnTo>
                      <a:pt x="41" y="160"/>
                    </a:lnTo>
                    <a:lnTo>
                      <a:pt x="41" y="159"/>
                    </a:lnTo>
                    <a:lnTo>
                      <a:pt x="41" y="158"/>
                    </a:lnTo>
                    <a:lnTo>
                      <a:pt x="42" y="158"/>
                    </a:lnTo>
                    <a:lnTo>
                      <a:pt x="42" y="158"/>
                    </a:lnTo>
                    <a:lnTo>
                      <a:pt x="43" y="158"/>
                    </a:lnTo>
                    <a:lnTo>
                      <a:pt x="43" y="157"/>
                    </a:lnTo>
                    <a:lnTo>
                      <a:pt x="45" y="157"/>
                    </a:lnTo>
                    <a:lnTo>
                      <a:pt x="45" y="156"/>
                    </a:lnTo>
                    <a:lnTo>
                      <a:pt x="46" y="156"/>
                    </a:lnTo>
                    <a:lnTo>
                      <a:pt x="47" y="155"/>
                    </a:lnTo>
                    <a:lnTo>
                      <a:pt x="47" y="154"/>
                    </a:lnTo>
                    <a:lnTo>
                      <a:pt x="48" y="153"/>
                    </a:lnTo>
                    <a:lnTo>
                      <a:pt x="49" y="151"/>
                    </a:lnTo>
                    <a:lnTo>
                      <a:pt x="49" y="150"/>
                    </a:lnTo>
                    <a:lnTo>
                      <a:pt x="50" y="149"/>
                    </a:lnTo>
                    <a:lnTo>
                      <a:pt x="50" y="148"/>
                    </a:lnTo>
                    <a:lnTo>
                      <a:pt x="51" y="147"/>
                    </a:lnTo>
                    <a:lnTo>
                      <a:pt x="52" y="147"/>
                    </a:lnTo>
                    <a:lnTo>
                      <a:pt x="53" y="146"/>
                    </a:lnTo>
                    <a:lnTo>
                      <a:pt x="52" y="144"/>
                    </a:lnTo>
                    <a:lnTo>
                      <a:pt x="52" y="142"/>
                    </a:lnTo>
                    <a:lnTo>
                      <a:pt x="51" y="140"/>
                    </a:lnTo>
                    <a:lnTo>
                      <a:pt x="51" y="138"/>
                    </a:lnTo>
                    <a:lnTo>
                      <a:pt x="50" y="136"/>
                    </a:lnTo>
                    <a:lnTo>
                      <a:pt x="50" y="134"/>
                    </a:lnTo>
                    <a:lnTo>
                      <a:pt x="48" y="130"/>
                    </a:lnTo>
                    <a:lnTo>
                      <a:pt x="47" y="126"/>
                    </a:lnTo>
                    <a:lnTo>
                      <a:pt x="46" y="124"/>
                    </a:lnTo>
                    <a:lnTo>
                      <a:pt x="46" y="122"/>
                    </a:lnTo>
                    <a:lnTo>
                      <a:pt x="45" y="120"/>
                    </a:lnTo>
                    <a:lnTo>
                      <a:pt x="45" y="118"/>
                    </a:lnTo>
                    <a:lnTo>
                      <a:pt x="45" y="115"/>
                    </a:lnTo>
                    <a:lnTo>
                      <a:pt x="45" y="113"/>
                    </a:lnTo>
                    <a:lnTo>
                      <a:pt x="43" y="111"/>
                    </a:lnTo>
                    <a:lnTo>
                      <a:pt x="42" y="109"/>
                    </a:lnTo>
                    <a:lnTo>
                      <a:pt x="40" y="107"/>
                    </a:lnTo>
                    <a:lnTo>
                      <a:pt x="39" y="105"/>
                    </a:lnTo>
                    <a:lnTo>
                      <a:pt x="36" y="102"/>
                    </a:lnTo>
                    <a:lnTo>
                      <a:pt x="33" y="98"/>
                    </a:lnTo>
                    <a:lnTo>
                      <a:pt x="31" y="98"/>
                    </a:lnTo>
                    <a:lnTo>
                      <a:pt x="29" y="98"/>
                    </a:lnTo>
                    <a:lnTo>
                      <a:pt x="28" y="98"/>
                    </a:lnTo>
                    <a:lnTo>
                      <a:pt x="26" y="98"/>
                    </a:lnTo>
                    <a:lnTo>
                      <a:pt x="26" y="97"/>
                    </a:lnTo>
                    <a:lnTo>
                      <a:pt x="25" y="97"/>
                    </a:lnTo>
                    <a:lnTo>
                      <a:pt x="24" y="96"/>
                    </a:lnTo>
                    <a:lnTo>
                      <a:pt x="22" y="95"/>
                    </a:lnTo>
                    <a:lnTo>
                      <a:pt x="21" y="94"/>
                    </a:lnTo>
                    <a:lnTo>
                      <a:pt x="19" y="94"/>
                    </a:lnTo>
                    <a:lnTo>
                      <a:pt x="18" y="93"/>
                    </a:lnTo>
                    <a:lnTo>
                      <a:pt x="16" y="92"/>
                    </a:lnTo>
                    <a:lnTo>
                      <a:pt x="15" y="91"/>
                    </a:lnTo>
                    <a:lnTo>
                      <a:pt x="14" y="91"/>
                    </a:lnTo>
                    <a:lnTo>
                      <a:pt x="14" y="90"/>
                    </a:lnTo>
                    <a:lnTo>
                      <a:pt x="14" y="90"/>
                    </a:lnTo>
                    <a:lnTo>
                      <a:pt x="13" y="89"/>
                    </a:lnTo>
                    <a:lnTo>
                      <a:pt x="13" y="89"/>
                    </a:lnTo>
                    <a:lnTo>
                      <a:pt x="12" y="89"/>
                    </a:lnTo>
                    <a:lnTo>
                      <a:pt x="11" y="88"/>
                    </a:lnTo>
                    <a:lnTo>
                      <a:pt x="9" y="88"/>
                    </a:lnTo>
                    <a:lnTo>
                      <a:pt x="8" y="88"/>
                    </a:lnTo>
                    <a:lnTo>
                      <a:pt x="6" y="88"/>
                    </a:lnTo>
                    <a:lnTo>
                      <a:pt x="5" y="88"/>
                    </a:lnTo>
                    <a:lnTo>
                      <a:pt x="5" y="83"/>
                    </a:lnTo>
                    <a:lnTo>
                      <a:pt x="5" y="83"/>
                    </a:lnTo>
                    <a:lnTo>
                      <a:pt x="5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3" y="82"/>
                    </a:lnTo>
                    <a:lnTo>
                      <a:pt x="3" y="82"/>
                    </a:lnTo>
                    <a:lnTo>
                      <a:pt x="2" y="81"/>
                    </a:lnTo>
                    <a:lnTo>
                      <a:pt x="2" y="81"/>
                    </a:lnTo>
                    <a:lnTo>
                      <a:pt x="1" y="81"/>
                    </a:lnTo>
                    <a:lnTo>
                      <a:pt x="1" y="81"/>
                    </a:lnTo>
                    <a:lnTo>
                      <a:pt x="0" y="80"/>
                    </a:lnTo>
                    <a:lnTo>
                      <a:pt x="0" y="80"/>
                    </a:lnTo>
                    <a:lnTo>
                      <a:pt x="0" y="80"/>
                    </a:lnTo>
                    <a:lnTo>
                      <a:pt x="0" y="79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1" y="78"/>
                    </a:lnTo>
                    <a:lnTo>
                      <a:pt x="1" y="77"/>
                    </a:lnTo>
                    <a:lnTo>
                      <a:pt x="2" y="77"/>
                    </a:lnTo>
                    <a:lnTo>
                      <a:pt x="2" y="77"/>
                    </a:lnTo>
                    <a:lnTo>
                      <a:pt x="3" y="76"/>
                    </a:lnTo>
                    <a:lnTo>
                      <a:pt x="3" y="77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5"/>
                    </a:lnTo>
                    <a:lnTo>
                      <a:pt x="5" y="75"/>
                    </a:lnTo>
                    <a:lnTo>
                      <a:pt x="5" y="75"/>
                    </a:lnTo>
                    <a:lnTo>
                      <a:pt x="5" y="75"/>
                    </a:lnTo>
                    <a:lnTo>
                      <a:pt x="6" y="75"/>
                    </a:lnTo>
                    <a:lnTo>
                      <a:pt x="7" y="75"/>
                    </a:lnTo>
                    <a:lnTo>
                      <a:pt x="8" y="75"/>
                    </a:lnTo>
                    <a:lnTo>
                      <a:pt x="8" y="75"/>
                    </a:lnTo>
                    <a:lnTo>
                      <a:pt x="9" y="75"/>
                    </a:lnTo>
                    <a:lnTo>
                      <a:pt x="9" y="75"/>
                    </a:lnTo>
                    <a:lnTo>
                      <a:pt x="9" y="74"/>
                    </a:lnTo>
                    <a:lnTo>
                      <a:pt x="9" y="74"/>
                    </a:lnTo>
                    <a:lnTo>
                      <a:pt x="9" y="74"/>
                    </a:lnTo>
                    <a:lnTo>
                      <a:pt x="9" y="73"/>
                    </a:lnTo>
                    <a:lnTo>
                      <a:pt x="9" y="73"/>
                    </a:lnTo>
                    <a:lnTo>
                      <a:pt x="10" y="73"/>
                    </a:lnTo>
                    <a:lnTo>
                      <a:pt x="10" y="73"/>
                    </a:lnTo>
                    <a:lnTo>
                      <a:pt x="11" y="73"/>
                    </a:lnTo>
                    <a:lnTo>
                      <a:pt x="11" y="73"/>
                    </a:lnTo>
                    <a:lnTo>
                      <a:pt x="12" y="73"/>
                    </a:lnTo>
                    <a:lnTo>
                      <a:pt x="12" y="73"/>
                    </a:lnTo>
                    <a:lnTo>
                      <a:pt x="13" y="72"/>
                    </a:lnTo>
                    <a:lnTo>
                      <a:pt x="13" y="72"/>
                    </a:lnTo>
                    <a:lnTo>
                      <a:pt x="14" y="72"/>
                    </a:lnTo>
                    <a:lnTo>
                      <a:pt x="14" y="71"/>
                    </a:lnTo>
                    <a:lnTo>
                      <a:pt x="14" y="70"/>
                    </a:lnTo>
                    <a:lnTo>
                      <a:pt x="15" y="70"/>
                    </a:lnTo>
                    <a:lnTo>
                      <a:pt x="15" y="69"/>
                    </a:lnTo>
                    <a:lnTo>
                      <a:pt x="16" y="69"/>
                    </a:lnTo>
                    <a:lnTo>
                      <a:pt x="16" y="69"/>
                    </a:lnTo>
                    <a:lnTo>
                      <a:pt x="17" y="68"/>
                    </a:lnTo>
                    <a:lnTo>
                      <a:pt x="17" y="67"/>
                    </a:lnTo>
                    <a:lnTo>
                      <a:pt x="18" y="67"/>
                    </a:lnTo>
                    <a:lnTo>
                      <a:pt x="18" y="66"/>
                    </a:lnTo>
                    <a:lnTo>
                      <a:pt x="18" y="65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7" y="64"/>
                    </a:lnTo>
                    <a:lnTo>
                      <a:pt x="17" y="63"/>
                    </a:lnTo>
                    <a:lnTo>
                      <a:pt x="17" y="63"/>
                    </a:lnTo>
                    <a:lnTo>
                      <a:pt x="16" y="63"/>
                    </a:lnTo>
                    <a:lnTo>
                      <a:pt x="16" y="63"/>
                    </a:lnTo>
                    <a:lnTo>
                      <a:pt x="16" y="62"/>
                    </a:lnTo>
                    <a:lnTo>
                      <a:pt x="16" y="62"/>
                    </a:lnTo>
                    <a:lnTo>
                      <a:pt x="16" y="61"/>
                    </a:lnTo>
                    <a:lnTo>
                      <a:pt x="16" y="60"/>
                    </a:lnTo>
                    <a:lnTo>
                      <a:pt x="15" y="60"/>
                    </a:lnTo>
                    <a:lnTo>
                      <a:pt x="15" y="59"/>
                    </a:lnTo>
                    <a:lnTo>
                      <a:pt x="15" y="58"/>
                    </a:lnTo>
                    <a:lnTo>
                      <a:pt x="15" y="58"/>
                    </a:lnTo>
                    <a:lnTo>
                      <a:pt x="15" y="57"/>
                    </a:lnTo>
                    <a:lnTo>
                      <a:pt x="14" y="57"/>
                    </a:lnTo>
                    <a:lnTo>
                      <a:pt x="14" y="57"/>
                    </a:lnTo>
                    <a:lnTo>
                      <a:pt x="14" y="57"/>
                    </a:lnTo>
                    <a:lnTo>
                      <a:pt x="14" y="57"/>
                    </a:lnTo>
                    <a:lnTo>
                      <a:pt x="13" y="56"/>
                    </a:lnTo>
                    <a:lnTo>
                      <a:pt x="13" y="56"/>
                    </a:lnTo>
                    <a:lnTo>
                      <a:pt x="13" y="56"/>
                    </a:lnTo>
                    <a:lnTo>
                      <a:pt x="13" y="55"/>
                    </a:lnTo>
                    <a:lnTo>
                      <a:pt x="14" y="55"/>
                    </a:lnTo>
                    <a:lnTo>
                      <a:pt x="14" y="54"/>
                    </a:lnTo>
                    <a:lnTo>
                      <a:pt x="15" y="53"/>
                    </a:lnTo>
                    <a:lnTo>
                      <a:pt x="16" y="52"/>
                    </a:lnTo>
                    <a:lnTo>
                      <a:pt x="17" y="51"/>
                    </a:lnTo>
                    <a:lnTo>
                      <a:pt x="18" y="51"/>
                    </a:lnTo>
                    <a:lnTo>
                      <a:pt x="18" y="50"/>
                    </a:lnTo>
                    <a:lnTo>
                      <a:pt x="19" y="50"/>
                    </a:lnTo>
                    <a:lnTo>
                      <a:pt x="19" y="49"/>
                    </a:lnTo>
                    <a:lnTo>
                      <a:pt x="19" y="48"/>
                    </a:lnTo>
                    <a:lnTo>
                      <a:pt x="25" y="48"/>
                    </a:lnTo>
                    <a:lnTo>
                      <a:pt x="24" y="49"/>
                    </a:lnTo>
                    <a:lnTo>
                      <a:pt x="24" y="49"/>
                    </a:lnTo>
                    <a:lnTo>
                      <a:pt x="25" y="49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36" y="50"/>
                    </a:lnTo>
                    <a:lnTo>
                      <a:pt x="37" y="50"/>
                    </a:lnTo>
                    <a:lnTo>
                      <a:pt x="37" y="50"/>
                    </a:lnTo>
                    <a:lnTo>
                      <a:pt x="37" y="50"/>
                    </a:lnTo>
                    <a:lnTo>
                      <a:pt x="37" y="50"/>
                    </a:lnTo>
                    <a:lnTo>
                      <a:pt x="38" y="49"/>
                    </a:lnTo>
                    <a:lnTo>
                      <a:pt x="38" y="49"/>
                    </a:lnTo>
                    <a:lnTo>
                      <a:pt x="38" y="49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9" y="48"/>
                    </a:lnTo>
                    <a:lnTo>
                      <a:pt x="39" y="48"/>
                    </a:lnTo>
                    <a:lnTo>
                      <a:pt x="39" y="47"/>
                    </a:lnTo>
                    <a:lnTo>
                      <a:pt x="39" y="47"/>
                    </a:lnTo>
                    <a:lnTo>
                      <a:pt x="39" y="46"/>
                    </a:lnTo>
                    <a:lnTo>
                      <a:pt x="39" y="45"/>
                    </a:lnTo>
                    <a:lnTo>
                      <a:pt x="39" y="44"/>
                    </a:lnTo>
                    <a:lnTo>
                      <a:pt x="39" y="43"/>
                    </a:lnTo>
                    <a:lnTo>
                      <a:pt x="40" y="43"/>
                    </a:lnTo>
                    <a:lnTo>
                      <a:pt x="39" y="42"/>
                    </a:lnTo>
                    <a:lnTo>
                      <a:pt x="39" y="42"/>
                    </a:lnTo>
                    <a:lnTo>
                      <a:pt x="39" y="42"/>
                    </a:lnTo>
                    <a:lnTo>
                      <a:pt x="39" y="42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7" y="42"/>
                    </a:lnTo>
                    <a:lnTo>
                      <a:pt x="37" y="42"/>
                    </a:lnTo>
                    <a:lnTo>
                      <a:pt x="37" y="42"/>
                    </a:lnTo>
                    <a:lnTo>
                      <a:pt x="36" y="42"/>
                    </a:lnTo>
                    <a:lnTo>
                      <a:pt x="36" y="41"/>
                    </a:lnTo>
                    <a:lnTo>
                      <a:pt x="36" y="41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5" y="40"/>
                    </a:lnTo>
                    <a:lnTo>
                      <a:pt x="35" y="40"/>
                    </a:lnTo>
                    <a:lnTo>
                      <a:pt x="35" y="40"/>
                    </a:lnTo>
                    <a:lnTo>
                      <a:pt x="34" y="40"/>
                    </a:lnTo>
                    <a:lnTo>
                      <a:pt x="33" y="40"/>
                    </a:lnTo>
                    <a:lnTo>
                      <a:pt x="33" y="40"/>
                    </a:lnTo>
                    <a:lnTo>
                      <a:pt x="32" y="40"/>
                    </a:lnTo>
                    <a:lnTo>
                      <a:pt x="32" y="39"/>
                    </a:lnTo>
                    <a:lnTo>
                      <a:pt x="31" y="39"/>
                    </a:lnTo>
                    <a:lnTo>
                      <a:pt x="30" y="39"/>
                    </a:lnTo>
                    <a:lnTo>
                      <a:pt x="30" y="38"/>
                    </a:lnTo>
                    <a:lnTo>
                      <a:pt x="29" y="38"/>
                    </a:lnTo>
                    <a:lnTo>
                      <a:pt x="29" y="38"/>
                    </a:lnTo>
                    <a:lnTo>
                      <a:pt x="28" y="38"/>
                    </a:lnTo>
                    <a:lnTo>
                      <a:pt x="28" y="38"/>
                    </a:lnTo>
                    <a:lnTo>
                      <a:pt x="28" y="38"/>
                    </a:lnTo>
                    <a:lnTo>
                      <a:pt x="28" y="37"/>
                    </a:lnTo>
                    <a:lnTo>
                      <a:pt x="28" y="37"/>
                    </a:lnTo>
                    <a:lnTo>
                      <a:pt x="27" y="37"/>
                    </a:lnTo>
                    <a:lnTo>
                      <a:pt x="27" y="37"/>
                    </a:lnTo>
                    <a:lnTo>
                      <a:pt x="27" y="37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26" y="36"/>
                    </a:lnTo>
                    <a:lnTo>
                      <a:pt x="25" y="36"/>
                    </a:lnTo>
                    <a:lnTo>
                      <a:pt x="25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3" y="36"/>
                    </a:lnTo>
                    <a:lnTo>
                      <a:pt x="23" y="35"/>
                    </a:lnTo>
                    <a:lnTo>
                      <a:pt x="23" y="35"/>
                    </a:lnTo>
                    <a:lnTo>
                      <a:pt x="23" y="35"/>
                    </a:lnTo>
                    <a:lnTo>
                      <a:pt x="24" y="35"/>
                    </a:lnTo>
                    <a:lnTo>
                      <a:pt x="26" y="34"/>
                    </a:lnTo>
                    <a:lnTo>
                      <a:pt x="27" y="34"/>
                    </a:lnTo>
                    <a:lnTo>
                      <a:pt x="28" y="33"/>
                    </a:lnTo>
                    <a:lnTo>
                      <a:pt x="29" y="33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1" y="31"/>
                    </a:lnTo>
                    <a:lnTo>
                      <a:pt x="31" y="30"/>
                    </a:lnTo>
                    <a:lnTo>
                      <a:pt x="31" y="30"/>
                    </a:lnTo>
                    <a:lnTo>
                      <a:pt x="31" y="29"/>
                    </a:lnTo>
                    <a:lnTo>
                      <a:pt x="31" y="29"/>
                    </a:lnTo>
                    <a:lnTo>
                      <a:pt x="31" y="29"/>
                    </a:lnTo>
                    <a:lnTo>
                      <a:pt x="31" y="29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29" y="28"/>
                    </a:lnTo>
                    <a:lnTo>
                      <a:pt x="29" y="28"/>
                    </a:lnTo>
                    <a:lnTo>
                      <a:pt x="29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6" y="27"/>
                    </a:lnTo>
                    <a:lnTo>
                      <a:pt x="25" y="27"/>
                    </a:lnTo>
                    <a:lnTo>
                      <a:pt x="24" y="27"/>
                    </a:lnTo>
                    <a:lnTo>
                      <a:pt x="24" y="27"/>
                    </a:lnTo>
                    <a:lnTo>
                      <a:pt x="23" y="27"/>
                    </a:lnTo>
                    <a:lnTo>
                      <a:pt x="22" y="27"/>
                    </a:lnTo>
                    <a:lnTo>
                      <a:pt x="22" y="27"/>
                    </a:lnTo>
                    <a:lnTo>
                      <a:pt x="22" y="26"/>
                    </a:lnTo>
                    <a:lnTo>
                      <a:pt x="21" y="26"/>
                    </a:lnTo>
                    <a:lnTo>
                      <a:pt x="21" y="26"/>
                    </a:lnTo>
                    <a:lnTo>
                      <a:pt x="21" y="26"/>
                    </a:lnTo>
                    <a:lnTo>
                      <a:pt x="21" y="25"/>
                    </a:lnTo>
                    <a:lnTo>
                      <a:pt x="21" y="25"/>
                    </a:lnTo>
                    <a:lnTo>
                      <a:pt x="22" y="25"/>
                    </a:lnTo>
                    <a:lnTo>
                      <a:pt x="22" y="25"/>
                    </a:lnTo>
                    <a:lnTo>
                      <a:pt x="22" y="25"/>
                    </a:lnTo>
                    <a:lnTo>
                      <a:pt x="23" y="25"/>
                    </a:lnTo>
                    <a:lnTo>
                      <a:pt x="23" y="24"/>
                    </a:lnTo>
                    <a:lnTo>
                      <a:pt x="23" y="24"/>
                    </a:lnTo>
                    <a:lnTo>
                      <a:pt x="23" y="24"/>
                    </a:lnTo>
                    <a:lnTo>
                      <a:pt x="23" y="23"/>
                    </a:lnTo>
                    <a:lnTo>
                      <a:pt x="23" y="23"/>
                    </a:lnTo>
                    <a:lnTo>
                      <a:pt x="23" y="23"/>
                    </a:lnTo>
                    <a:lnTo>
                      <a:pt x="23" y="22"/>
                    </a:lnTo>
                    <a:lnTo>
                      <a:pt x="23" y="22"/>
                    </a:lnTo>
                    <a:lnTo>
                      <a:pt x="23" y="21"/>
                    </a:lnTo>
                    <a:lnTo>
                      <a:pt x="23" y="21"/>
                    </a:lnTo>
                    <a:lnTo>
                      <a:pt x="24" y="21"/>
                    </a:lnTo>
                    <a:lnTo>
                      <a:pt x="24" y="21"/>
                    </a:lnTo>
                    <a:lnTo>
                      <a:pt x="24" y="21"/>
                    </a:lnTo>
                    <a:lnTo>
                      <a:pt x="24" y="21"/>
                    </a:lnTo>
                    <a:lnTo>
                      <a:pt x="24" y="21"/>
                    </a:lnTo>
                    <a:lnTo>
                      <a:pt x="24" y="20"/>
                    </a:lnTo>
                    <a:lnTo>
                      <a:pt x="23" y="20"/>
                    </a:lnTo>
                    <a:lnTo>
                      <a:pt x="23" y="20"/>
                    </a:lnTo>
                    <a:lnTo>
                      <a:pt x="23" y="20"/>
                    </a:lnTo>
                    <a:lnTo>
                      <a:pt x="23" y="20"/>
                    </a:lnTo>
                    <a:lnTo>
                      <a:pt x="23" y="19"/>
                    </a:lnTo>
                    <a:lnTo>
                      <a:pt x="23" y="19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3" y="17"/>
                    </a:lnTo>
                    <a:lnTo>
                      <a:pt x="28" y="17"/>
                    </a:lnTo>
                    <a:lnTo>
                      <a:pt x="28" y="17"/>
                    </a:lnTo>
                    <a:lnTo>
                      <a:pt x="29" y="17"/>
                    </a:lnTo>
                    <a:lnTo>
                      <a:pt x="29" y="17"/>
                    </a:lnTo>
                    <a:lnTo>
                      <a:pt x="29" y="17"/>
                    </a:lnTo>
                    <a:lnTo>
                      <a:pt x="29" y="17"/>
                    </a:lnTo>
                    <a:lnTo>
                      <a:pt x="29" y="17"/>
                    </a:lnTo>
                    <a:lnTo>
                      <a:pt x="29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1" y="18"/>
                    </a:lnTo>
                    <a:lnTo>
                      <a:pt x="31" y="18"/>
                    </a:lnTo>
                    <a:lnTo>
                      <a:pt x="35" y="18"/>
                    </a:lnTo>
                    <a:lnTo>
                      <a:pt x="39" y="18"/>
                    </a:lnTo>
                    <a:lnTo>
                      <a:pt x="44" y="18"/>
                    </a:lnTo>
                    <a:lnTo>
                      <a:pt x="48" y="18"/>
                    </a:lnTo>
                    <a:lnTo>
                      <a:pt x="49" y="18"/>
                    </a:lnTo>
                    <a:lnTo>
                      <a:pt x="50" y="18"/>
                    </a:lnTo>
                    <a:lnTo>
                      <a:pt x="51" y="18"/>
                    </a:lnTo>
                    <a:lnTo>
                      <a:pt x="52" y="18"/>
                    </a:lnTo>
                    <a:lnTo>
                      <a:pt x="53" y="18"/>
                    </a:lnTo>
                    <a:lnTo>
                      <a:pt x="53" y="18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54" y="17"/>
                    </a:lnTo>
                    <a:lnTo>
                      <a:pt x="54" y="17"/>
                    </a:lnTo>
                    <a:lnTo>
                      <a:pt x="54" y="17"/>
                    </a:lnTo>
                    <a:lnTo>
                      <a:pt x="56" y="17"/>
                    </a:lnTo>
                    <a:lnTo>
                      <a:pt x="56" y="17"/>
                    </a:lnTo>
                    <a:lnTo>
                      <a:pt x="57" y="17"/>
                    </a:lnTo>
                    <a:lnTo>
                      <a:pt x="58" y="17"/>
                    </a:lnTo>
                    <a:lnTo>
                      <a:pt x="59" y="17"/>
                    </a:lnTo>
                    <a:lnTo>
                      <a:pt x="59" y="16"/>
                    </a:lnTo>
                    <a:lnTo>
                      <a:pt x="60" y="16"/>
                    </a:lnTo>
                    <a:lnTo>
                      <a:pt x="62" y="15"/>
                    </a:lnTo>
                    <a:lnTo>
                      <a:pt x="62" y="15"/>
                    </a:lnTo>
                    <a:lnTo>
                      <a:pt x="63" y="15"/>
                    </a:lnTo>
                    <a:lnTo>
                      <a:pt x="63" y="15"/>
                    </a:lnTo>
                    <a:lnTo>
                      <a:pt x="64" y="15"/>
                    </a:lnTo>
                    <a:lnTo>
                      <a:pt x="65" y="15"/>
                    </a:lnTo>
                    <a:lnTo>
                      <a:pt x="66" y="15"/>
                    </a:lnTo>
                    <a:lnTo>
                      <a:pt x="67" y="15"/>
                    </a:lnTo>
                    <a:lnTo>
                      <a:pt x="67" y="15"/>
                    </a:lnTo>
                    <a:lnTo>
                      <a:pt x="67" y="15"/>
                    </a:lnTo>
                    <a:lnTo>
                      <a:pt x="67" y="15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3"/>
                    </a:lnTo>
                    <a:lnTo>
                      <a:pt x="69" y="13"/>
                    </a:lnTo>
                    <a:lnTo>
                      <a:pt x="69" y="14"/>
                    </a:lnTo>
                    <a:lnTo>
                      <a:pt x="70" y="14"/>
                    </a:lnTo>
                    <a:lnTo>
                      <a:pt x="71" y="14"/>
                    </a:lnTo>
                    <a:lnTo>
                      <a:pt x="72" y="13"/>
                    </a:lnTo>
                    <a:lnTo>
                      <a:pt x="73" y="13"/>
                    </a:lnTo>
                    <a:lnTo>
                      <a:pt x="74" y="13"/>
                    </a:lnTo>
                    <a:lnTo>
                      <a:pt x="75" y="12"/>
                    </a:lnTo>
                    <a:lnTo>
                      <a:pt x="75" y="12"/>
                    </a:lnTo>
                    <a:lnTo>
                      <a:pt x="77" y="11"/>
                    </a:lnTo>
                    <a:lnTo>
                      <a:pt x="78" y="11"/>
                    </a:lnTo>
                    <a:lnTo>
                      <a:pt x="79" y="10"/>
                    </a:lnTo>
                    <a:lnTo>
                      <a:pt x="79" y="10"/>
                    </a:lnTo>
                    <a:lnTo>
                      <a:pt x="80" y="10"/>
                    </a:lnTo>
                    <a:lnTo>
                      <a:pt x="82" y="10"/>
                    </a:lnTo>
                    <a:lnTo>
                      <a:pt x="83" y="10"/>
                    </a:lnTo>
                    <a:lnTo>
                      <a:pt x="83" y="10"/>
                    </a:lnTo>
                    <a:lnTo>
                      <a:pt x="83" y="11"/>
                    </a:lnTo>
                    <a:lnTo>
                      <a:pt x="83" y="11"/>
                    </a:lnTo>
                    <a:lnTo>
                      <a:pt x="83" y="11"/>
                    </a:lnTo>
                    <a:lnTo>
                      <a:pt x="84" y="11"/>
                    </a:lnTo>
                    <a:lnTo>
                      <a:pt x="84" y="11"/>
                    </a:lnTo>
                    <a:lnTo>
                      <a:pt x="85" y="11"/>
                    </a:lnTo>
                    <a:lnTo>
                      <a:pt x="85" y="12"/>
                    </a:lnTo>
                    <a:lnTo>
                      <a:pt x="86" y="12"/>
                    </a:lnTo>
                    <a:lnTo>
                      <a:pt x="87" y="12"/>
                    </a:lnTo>
                    <a:lnTo>
                      <a:pt x="88" y="12"/>
                    </a:lnTo>
                    <a:lnTo>
                      <a:pt x="90" y="12"/>
                    </a:lnTo>
                    <a:lnTo>
                      <a:pt x="92" y="12"/>
                    </a:lnTo>
                    <a:lnTo>
                      <a:pt x="94" y="12"/>
                    </a:lnTo>
                    <a:lnTo>
                      <a:pt x="96" y="12"/>
                    </a:lnTo>
                    <a:lnTo>
                      <a:pt x="97" y="12"/>
                    </a:lnTo>
                    <a:lnTo>
                      <a:pt x="97" y="12"/>
                    </a:lnTo>
                    <a:lnTo>
                      <a:pt x="97" y="12"/>
                    </a:lnTo>
                    <a:lnTo>
                      <a:pt x="97" y="11"/>
                    </a:lnTo>
                    <a:lnTo>
                      <a:pt x="98" y="11"/>
                    </a:lnTo>
                    <a:lnTo>
                      <a:pt x="98" y="11"/>
                    </a:lnTo>
                    <a:lnTo>
                      <a:pt x="98" y="10"/>
                    </a:lnTo>
                    <a:lnTo>
                      <a:pt x="98" y="10"/>
                    </a:lnTo>
                    <a:lnTo>
                      <a:pt x="98" y="10"/>
                    </a:lnTo>
                    <a:lnTo>
                      <a:pt x="99" y="10"/>
                    </a:lnTo>
                    <a:lnTo>
                      <a:pt x="99" y="10"/>
                    </a:lnTo>
                    <a:lnTo>
                      <a:pt x="99" y="10"/>
                    </a:lnTo>
                    <a:lnTo>
                      <a:pt x="99" y="9"/>
                    </a:lnTo>
                    <a:lnTo>
                      <a:pt x="99" y="9"/>
                    </a:lnTo>
                    <a:lnTo>
                      <a:pt x="99" y="9"/>
                    </a:lnTo>
                    <a:lnTo>
                      <a:pt x="99" y="8"/>
                    </a:lnTo>
                    <a:lnTo>
                      <a:pt x="99" y="7"/>
                    </a:lnTo>
                    <a:lnTo>
                      <a:pt x="99" y="7"/>
                    </a:lnTo>
                    <a:lnTo>
                      <a:pt x="99" y="6"/>
                    </a:lnTo>
                    <a:lnTo>
                      <a:pt x="99" y="5"/>
                    </a:lnTo>
                    <a:lnTo>
                      <a:pt x="100" y="5"/>
                    </a:lnTo>
                    <a:lnTo>
                      <a:pt x="100" y="5"/>
                    </a:lnTo>
                    <a:lnTo>
                      <a:pt x="101" y="5"/>
                    </a:lnTo>
                    <a:lnTo>
                      <a:pt x="101" y="5"/>
                    </a:lnTo>
                    <a:lnTo>
                      <a:pt x="101" y="4"/>
                    </a:lnTo>
                    <a:lnTo>
                      <a:pt x="101" y="4"/>
                    </a:lnTo>
                    <a:lnTo>
                      <a:pt x="101" y="4"/>
                    </a:lnTo>
                    <a:lnTo>
                      <a:pt x="101" y="3"/>
                    </a:lnTo>
                    <a:lnTo>
                      <a:pt x="102" y="3"/>
                    </a:lnTo>
                    <a:lnTo>
                      <a:pt x="102" y="3"/>
                    </a:lnTo>
                    <a:lnTo>
                      <a:pt x="102" y="3"/>
                    </a:lnTo>
                    <a:lnTo>
                      <a:pt x="103" y="3"/>
                    </a:lnTo>
                    <a:lnTo>
                      <a:pt x="103" y="3"/>
                    </a:lnTo>
                    <a:lnTo>
                      <a:pt x="104" y="3"/>
                    </a:lnTo>
                    <a:lnTo>
                      <a:pt x="104" y="3"/>
                    </a:lnTo>
                    <a:lnTo>
                      <a:pt x="104" y="3"/>
                    </a:lnTo>
                    <a:lnTo>
                      <a:pt x="104" y="3"/>
                    </a:lnTo>
                    <a:lnTo>
                      <a:pt x="104" y="2"/>
                    </a:lnTo>
                    <a:lnTo>
                      <a:pt x="104" y="2"/>
                    </a:lnTo>
                    <a:lnTo>
                      <a:pt x="104" y="2"/>
                    </a:lnTo>
                    <a:lnTo>
                      <a:pt x="105" y="2"/>
                    </a:lnTo>
                    <a:lnTo>
                      <a:pt x="106" y="2"/>
                    </a:lnTo>
                    <a:lnTo>
                      <a:pt x="107" y="2"/>
                    </a:lnTo>
                    <a:lnTo>
                      <a:pt x="108" y="2"/>
                    </a:lnTo>
                    <a:lnTo>
                      <a:pt x="108" y="2"/>
                    </a:lnTo>
                    <a:lnTo>
                      <a:pt x="108" y="2"/>
                    </a:lnTo>
                    <a:lnTo>
                      <a:pt x="109" y="1"/>
                    </a:lnTo>
                    <a:lnTo>
                      <a:pt x="109" y="1"/>
                    </a:lnTo>
                    <a:lnTo>
                      <a:pt x="109" y="1"/>
                    </a:lnTo>
                    <a:lnTo>
                      <a:pt x="109" y="1"/>
                    </a:lnTo>
                    <a:lnTo>
                      <a:pt x="109" y="0"/>
                    </a:lnTo>
                    <a:lnTo>
                      <a:pt x="109" y="0"/>
                    </a:lnTo>
                    <a:lnTo>
                      <a:pt x="109" y="0"/>
                    </a:lnTo>
                    <a:moveTo>
                      <a:pt x="11" y="85"/>
                    </a:moveTo>
                    <a:lnTo>
                      <a:pt x="11" y="85"/>
                    </a:lnTo>
                    <a:lnTo>
                      <a:pt x="11" y="85"/>
                    </a:lnTo>
                    <a:lnTo>
                      <a:pt x="10" y="85"/>
                    </a:lnTo>
                    <a:lnTo>
                      <a:pt x="10" y="85"/>
                    </a:lnTo>
                    <a:lnTo>
                      <a:pt x="9" y="85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10" y="87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1" y="86"/>
                    </a:lnTo>
                    <a:lnTo>
                      <a:pt x="11" y="86"/>
                    </a:lnTo>
                    <a:lnTo>
                      <a:pt x="11" y="85"/>
                    </a:lnTo>
                    <a:lnTo>
                      <a:pt x="11" y="85"/>
                    </a:lnTo>
                    <a:lnTo>
                      <a:pt x="11" y="85"/>
                    </a:lnTo>
                    <a:lnTo>
                      <a:pt x="11" y="85"/>
                    </a:lnTo>
                    <a:lnTo>
                      <a:pt x="11" y="85"/>
                    </a:lnTo>
                    <a:lnTo>
                      <a:pt x="11" y="85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defTabSz="914308">
                  <a:defRPr/>
                </a:pPr>
                <a:endParaRPr lang="en-US" sz="9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00" name="Freeform 4"/>
              <p:cNvSpPr>
                <a:spLocks/>
              </p:cNvSpPr>
              <p:nvPr/>
            </p:nvSpPr>
            <p:spPr bwMode="auto">
              <a:xfrm>
                <a:off x="2905476" y="2173725"/>
                <a:ext cx="1241967" cy="905070"/>
              </a:xfrm>
              <a:custGeom>
                <a:avLst/>
                <a:gdLst/>
                <a:ahLst/>
                <a:cxnLst>
                  <a:cxn ang="0">
                    <a:pos x="81" y="1"/>
                  </a:cxn>
                  <a:cxn ang="0">
                    <a:pos x="88" y="6"/>
                  </a:cxn>
                  <a:cxn ang="0">
                    <a:pos x="92" y="10"/>
                  </a:cxn>
                  <a:cxn ang="0">
                    <a:pos x="93" y="9"/>
                  </a:cxn>
                  <a:cxn ang="0">
                    <a:pos x="113" y="11"/>
                  </a:cxn>
                  <a:cxn ang="0">
                    <a:pos x="118" y="15"/>
                  </a:cxn>
                  <a:cxn ang="0">
                    <a:pos x="123" y="21"/>
                  </a:cxn>
                  <a:cxn ang="0">
                    <a:pos x="128" y="19"/>
                  </a:cxn>
                  <a:cxn ang="0">
                    <a:pos x="136" y="19"/>
                  </a:cxn>
                  <a:cxn ang="0">
                    <a:pos x="143" y="24"/>
                  </a:cxn>
                  <a:cxn ang="0">
                    <a:pos x="152" y="25"/>
                  </a:cxn>
                  <a:cxn ang="0">
                    <a:pos x="157" y="27"/>
                  </a:cxn>
                  <a:cxn ang="0">
                    <a:pos x="163" y="33"/>
                  </a:cxn>
                  <a:cxn ang="0">
                    <a:pos x="165" y="42"/>
                  </a:cxn>
                  <a:cxn ang="0">
                    <a:pos x="163" y="52"/>
                  </a:cxn>
                  <a:cxn ang="0">
                    <a:pos x="162" y="61"/>
                  </a:cxn>
                  <a:cxn ang="0">
                    <a:pos x="160" y="66"/>
                  </a:cxn>
                  <a:cxn ang="0">
                    <a:pos x="159" y="69"/>
                  </a:cxn>
                  <a:cxn ang="0">
                    <a:pos x="162" y="74"/>
                  </a:cxn>
                  <a:cxn ang="0">
                    <a:pos x="153" y="80"/>
                  </a:cxn>
                  <a:cxn ang="0">
                    <a:pos x="142" y="89"/>
                  </a:cxn>
                  <a:cxn ang="0">
                    <a:pos x="137" y="93"/>
                  </a:cxn>
                  <a:cxn ang="0">
                    <a:pos x="132" y="96"/>
                  </a:cxn>
                  <a:cxn ang="0">
                    <a:pos x="129" y="101"/>
                  </a:cxn>
                  <a:cxn ang="0">
                    <a:pos x="122" y="102"/>
                  </a:cxn>
                  <a:cxn ang="0">
                    <a:pos x="118" y="99"/>
                  </a:cxn>
                  <a:cxn ang="0">
                    <a:pos x="116" y="95"/>
                  </a:cxn>
                  <a:cxn ang="0">
                    <a:pos x="109" y="97"/>
                  </a:cxn>
                  <a:cxn ang="0">
                    <a:pos x="104" y="103"/>
                  </a:cxn>
                  <a:cxn ang="0">
                    <a:pos x="100" y="112"/>
                  </a:cxn>
                  <a:cxn ang="0">
                    <a:pos x="87" y="111"/>
                  </a:cxn>
                  <a:cxn ang="0">
                    <a:pos x="78" y="109"/>
                  </a:cxn>
                  <a:cxn ang="0">
                    <a:pos x="75" y="104"/>
                  </a:cxn>
                  <a:cxn ang="0">
                    <a:pos x="71" y="102"/>
                  </a:cxn>
                  <a:cxn ang="0">
                    <a:pos x="64" y="98"/>
                  </a:cxn>
                  <a:cxn ang="0">
                    <a:pos x="58" y="96"/>
                  </a:cxn>
                  <a:cxn ang="0">
                    <a:pos x="52" y="100"/>
                  </a:cxn>
                  <a:cxn ang="0">
                    <a:pos x="46" y="98"/>
                  </a:cxn>
                  <a:cxn ang="0">
                    <a:pos x="33" y="95"/>
                  </a:cxn>
                  <a:cxn ang="0">
                    <a:pos x="24" y="89"/>
                  </a:cxn>
                  <a:cxn ang="0">
                    <a:pos x="16" y="85"/>
                  </a:cxn>
                  <a:cxn ang="0">
                    <a:pos x="11" y="80"/>
                  </a:cxn>
                  <a:cxn ang="0">
                    <a:pos x="3" y="80"/>
                  </a:cxn>
                  <a:cxn ang="0">
                    <a:pos x="1" y="68"/>
                  </a:cxn>
                  <a:cxn ang="0">
                    <a:pos x="5" y="58"/>
                  </a:cxn>
                  <a:cxn ang="0">
                    <a:pos x="13" y="48"/>
                  </a:cxn>
                  <a:cxn ang="0">
                    <a:pos x="19" y="41"/>
                  </a:cxn>
                  <a:cxn ang="0">
                    <a:pos x="27" y="40"/>
                  </a:cxn>
                  <a:cxn ang="0">
                    <a:pos x="35" y="37"/>
                  </a:cxn>
                  <a:cxn ang="0">
                    <a:pos x="44" y="36"/>
                  </a:cxn>
                  <a:cxn ang="0">
                    <a:pos x="56" y="27"/>
                  </a:cxn>
                  <a:cxn ang="0">
                    <a:pos x="59" y="24"/>
                  </a:cxn>
                  <a:cxn ang="0">
                    <a:pos x="58" y="21"/>
                  </a:cxn>
                  <a:cxn ang="0">
                    <a:pos x="55" y="15"/>
                  </a:cxn>
                  <a:cxn ang="0">
                    <a:pos x="55" y="11"/>
                  </a:cxn>
                  <a:cxn ang="0">
                    <a:pos x="58" y="4"/>
                  </a:cxn>
                  <a:cxn ang="0">
                    <a:pos x="67" y="2"/>
                  </a:cxn>
                  <a:cxn ang="0">
                    <a:pos x="75" y="2"/>
                  </a:cxn>
                </a:cxnLst>
                <a:rect l="0" t="0" r="r" b="b"/>
                <a:pathLst>
                  <a:path w="166" h="112">
                    <a:moveTo>
                      <a:pt x="75" y="1"/>
                    </a:moveTo>
                    <a:lnTo>
                      <a:pt x="76" y="0"/>
                    </a:lnTo>
                    <a:lnTo>
                      <a:pt x="77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9" y="0"/>
                    </a:lnTo>
                    <a:lnTo>
                      <a:pt x="80" y="0"/>
                    </a:lnTo>
                    <a:lnTo>
                      <a:pt x="81" y="1"/>
                    </a:lnTo>
                    <a:lnTo>
                      <a:pt x="82" y="1"/>
                    </a:lnTo>
                    <a:lnTo>
                      <a:pt x="83" y="2"/>
                    </a:lnTo>
                    <a:lnTo>
                      <a:pt x="84" y="2"/>
                    </a:lnTo>
                    <a:lnTo>
                      <a:pt x="85" y="3"/>
                    </a:lnTo>
                    <a:lnTo>
                      <a:pt x="85" y="4"/>
                    </a:lnTo>
                    <a:lnTo>
                      <a:pt x="86" y="5"/>
                    </a:lnTo>
                    <a:lnTo>
                      <a:pt x="87" y="6"/>
                    </a:lnTo>
                    <a:lnTo>
                      <a:pt x="88" y="6"/>
                    </a:lnTo>
                    <a:lnTo>
                      <a:pt x="89" y="7"/>
                    </a:lnTo>
                    <a:lnTo>
                      <a:pt x="90" y="8"/>
                    </a:lnTo>
                    <a:lnTo>
                      <a:pt x="91" y="8"/>
                    </a:lnTo>
                    <a:lnTo>
                      <a:pt x="92" y="9"/>
                    </a:lnTo>
                    <a:lnTo>
                      <a:pt x="92" y="9"/>
                    </a:lnTo>
                    <a:lnTo>
                      <a:pt x="92" y="9"/>
                    </a:lnTo>
                    <a:lnTo>
                      <a:pt x="92" y="10"/>
                    </a:lnTo>
                    <a:lnTo>
                      <a:pt x="92" y="10"/>
                    </a:lnTo>
                    <a:lnTo>
                      <a:pt x="92" y="10"/>
                    </a:lnTo>
                    <a:lnTo>
                      <a:pt x="92" y="10"/>
                    </a:lnTo>
                    <a:lnTo>
                      <a:pt x="93" y="10"/>
                    </a:lnTo>
                    <a:lnTo>
                      <a:pt x="93" y="10"/>
                    </a:lnTo>
                    <a:lnTo>
                      <a:pt x="93" y="10"/>
                    </a:lnTo>
                    <a:lnTo>
                      <a:pt x="93" y="10"/>
                    </a:lnTo>
                    <a:lnTo>
                      <a:pt x="93" y="9"/>
                    </a:lnTo>
                    <a:lnTo>
                      <a:pt x="93" y="9"/>
                    </a:lnTo>
                    <a:lnTo>
                      <a:pt x="95" y="9"/>
                    </a:lnTo>
                    <a:lnTo>
                      <a:pt x="98" y="9"/>
                    </a:lnTo>
                    <a:lnTo>
                      <a:pt x="102" y="10"/>
                    </a:lnTo>
                    <a:lnTo>
                      <a:pt x="104" y="10"/>
                    </a:lnTo>
                    <a:lnTo>
                      <a:pt x="107" y="10"/>
                    </a:lnTo>
                    <a:lnTo>
                      <a:pt x="109" y="10"/>
                    </a:lnTo>
                    <a:lnTo>
                      <a:pt x="111" y="11"/>
                    </a:lnTo>
                    <a:lnTo>
                      <a:pt x="113" y="11"/>
                    </a:lnTo>
                    <a:lnTo>
                      <a:pt x="114" y="11"/>
                    </a:lnTo>
                    <a:lnTo>
                      <a:pt x="114" y="12"/>
                    </a:lnTo>
                    <a:lnTo>
                      <a:pt x="115" y="12"/>
                    </a:lnTo>
                    <a:lnTo>
                      <a:pt x="116" y="13"/>
                    </a:lnTo>
                    <a:lnTo>
                      <a:pt x="117" y="13"/>
                    </a:lnTo>
                    <a:lnTo>
                      <a:pt x="117" y="14"/>
                    </a:lnTo>
                    <a:lnTo>
                      <a:pt x="118" y="14"/>
                    </a:lnTo>
                    <a:lnTo>
                      <a:pt x="118" y="15"/>
                    </a:lnTo>
                    <a:lnTo>
                      <a:pt x="119" y="16"/>
                    </a:lnTo>
                    <a:lnTo>
                      <a:pt x="119" y="16"/>
                    </a:lnTo>
                    <a:lnTo>
                      <a:pt x="119" y="17"/>
                    </a:lnTo>
                    <a:lnTo>
                      <a:pt x="120" y="18"/>
                    </a:lnTo>
                    <a:lnTo>
                      <a:pt x="120" y="19"/>
                    </a:lnTo>
                    <a:lnTo>
                      <a:pt x="120" y="21"/>
                    </a:lnTo>
                    <a:lnTo>
                      <a:pt x="122" y="21"/>
                    </a:lnTo>
                    <a:lnTo>
                      <a:pt x="123" y="21"/>
                    </a:lnTo>
                    <a:lnTo>
                      <a:pt x="125" y="21"/>
                    </a:lnTo>
                    <a:lnTo>
                      <a:pt x="127" y="21"/>
                    </a:lnTo>
                    <a:lnTo>
                      <a:pt x="127" y="21"/>
                    </a:lnTo>
                    <a:lnTo>
                      <a:pt x="127" y="21"/>
                    </a:lnTo>
                    <a:lnTo>
                      <a:pt x="128" y="20"/>
                    </a:lnTo>
                    <a:lnTo>
                      <a:pt x="128" y="20"/>
                    </a:lnTo>
                    <a:lnTo>
                      <a:pt x="128" y="20"/>
                    </a:lnTo>
                    <a:lnTo>
                      <a:pt x="128" y="19"/>
                    </a:lnTo>
                    <a:lnTo>
                      <a:pt x="128" y="19"/>
                    </a:lnTo>
                    <a:lnTo>
                      <a:pt x="128" y="19"/>
                    </a:lnTo>
                    <a:lnTo>
                      <a:pt x="130" y="19"/>
                    </a:lnTo>
                    <a:lnTo>
                      <a:pt x="132" y="19"/>
                    </a:lnTo>
                    <a:lnTo>
                      <a:pt x="133" y="19"/>
                    </a:lnTo>
                    <a:lnTo>
                      <a:pt x="135" y="19"/>
                    </a:lnTo>
                    <a:lnTo>
                      <a:pt x="135" y="19"/>
                    </a:lnTo>
                    <a:lnTo>
                      <a:pt x="136" y="19"/>
                    </a:lnTo>
                    <a:lnTo>
                      <a:pt x="136" y="19"/>
                    </a:lnTo>
                    <a:lnTo>
                      <a:pt x="137" y="19"/>
                    </a:lnTo>
                    <a:lnTo>
                      <a:pt x="138" y="19"/>
                    </a:lnTo>
                    <a:lnTo>
                      <a:pt x="138" y="20"/>
                    </a:lnTo>
                    <a:lnTo>
                      <a:pt x="140" y="21"/>
                    </a:lnTo>
                    <a:lnTo>
                      <a:pt x="141" y="22"/>
                    </a:lnTo>
                    <a:lnTo>
                      <a:pt x="142" y="23"/>
                    </a:lnTo>
                    <a:lnTo>
                      <a:pt x="143" y="24"/>
                    </a:lnTo>
                    <a:lnTo>
                      <a:pt x="144" y="24"/>
                    </a:lnTo>
                    <a:lnTo>
                      <a:pt x="145" y="25"/>
                    </a:lnTo>
                    <a:lnTo>
                      <a:pt x="146" y="25"/>
                    </a:lnTo>
                    <a:lnTo>
                      <a:pt x="147" y="25"/>
                    </a:lnTo>
                    <a:lnTo>
                      <a:pt x="148" y="26"/>
                    </a:lnTo>
                    <a:lnTo>
                      <a:pt x="149" y="26"/>
                    </a:lnTo>
                    <a:lnTo>
                      <a:pt x="150" y="26"/>
                    </a:lnTo>
                    <a:lnTo>
                      <a:pt x="152" y="25"/>
                    </a:lnTo>
                    <a:lnTo>
                      <a:pt x="152" y="25"/>
                    </a:lnTo>
                    <a:lnTo>
                      <a:pt x="152" y="25"/>
                    </a:lnTo>
                    <a:lnTo>
                      <a:pt x="153" y="25"/>
                    </a:lnTo>
                    <a:lnTo>
                      <a:pt x="153" y="25"/>
                    </a:lnTo>
                    <a:lnTo>
                      <a:pt x="154" y="26"/>
                    </a:lnTo>
                    <a:lnTo>
                      <a:pt x="156" y="26"/>
                    </a:lnTo>
                    <a:lnTo>
                      <a:pt x="156" y="26"/>
                    </a:lnTo>
                    <a:lnTo>
                      <a:pt x="157" y="27"/>
                    </a:lnTo>
                    <a:lnTo>
                      <a:pt x="158" y="27"/>
                    </a:lnTo>
                    <a:lnTo>
                      <a:pt x="159" y="28"/>
                    </a:lnTo>
                    <a:lnTo>
                      <a:pt x="159" y="28"/>
                    </a:lnTo>
                    <a:lnTo>
                      <a:pt x="160" y="29"/>
                    </a:lnTo>
                    <a:lnTo>
                      <a:pt x="161" y="30"/>
                    </a:lnTo>
                    <a:lnTo>
                      <a:pt x="161" y="31"/>
                    </a:lnTo>
                    <a:lnTo>
                      <a:pt x="162" y="32"/>
                    </a:lnTo>
                    <a:lnTo>
                      <a:pt x="163" y="33"/>
                    </a:lnTo>
                    <a:lnTo>
                      <a:pt x="163" y="33"/>
                    </a:lnTo>
                    <a:lnTo>
                      <a:pt x="164" y="33"/>
                    </a:lnTo>
                    <a:lnTo>
                      <a:pt x="165" y="34"/>
                    </a:lnTo>
                    <a:lnTo>
                      <a:pt x="165" y="36"/>
                    </a:lnTo>
                    <a:lnTo>
                      <a:pt x="165" y="37"/>
                    </a:lnTo>
                    <a:lnTo>
                      <a:pt x="166" y="39"/>
                    </a:lnTo>
                    <a:lnTo>
                      <a:pt x="165" y="41"/>
                    </a:lnTo>
                    <a:lnTo>
                      <a:pt x="165" y="42"/>
                    </a:lnTo>
                    <a:lnTo>
                      <a:pt x="165" y="44"/>
                    </a:lnTo>
                    <a:lnTo>
                      <a:pt x="165" y="45"/>
                    </a:lnTo>
                    <a:lnTo>
                      <a:pt x="165" y="47"/>
                    </a:lnTo>
                    <a:lnTo>
                      <a:pt x="164" y="48"/>
                    </a:lnTo>
                    <a:lnTo>
                      <a:pt x="164" y="49"/>
                    </a:lnTo>
                    <a:lnTo>
                      <a:pt x="163" y="50"/>
                    </a:lnTo>
                    <a:lnTo>
                      <a:pt x="163" y="51"/>
                    </a:lnTo>
                    <a:lnTo>
                      <a:pt x="163" y="52"/>
                    </a:lnTo>
                    <a:lnTo>
                      <a:pt x="162" y="53"/>
                    </a:lnTo>
                    <a:lnTo>
                      <a:pt x="162" y="54"/>
                    </a:lnTo>
                    <a:lnTo>
                      <a:pt x="162" y="56"/>
                    </a:lnTo>
                    <a:lnTo>
                      <a:pt x="161" y="56"/>
                    </a:lnTo>
                    <a:lnTo>
                      <a:pt x="161" y="57"/>
                    </a:lnTo>
                    <a:lnTo>
                      <a:pt x="161" y="58"/>
                    </a:lnTo>
                    <a:lnTo>
                      <a:pt x="161" y="59"/>
                    </a:lnTo>
                    <a:lnTo>
                      <a:pt x="162" y="61"/>
                    </a:lnTo>
                    <a:lnTo>
                      <a:pt x="162" y="62"/>
                    </a:lnTo>
                    <a:lnTo>
                      <a:pt x="162" y="63"/>
                    </a:lnTo>
                    <a:lnTo>
                      <a:pt x="162" y="63"/>
                    </a:lnTo>
                    <a:lnTo>
                      <a:pt x="161" y="64"/>
                    </a:lnTo>
                    <a:lnTo>
                      <a:pt x="161" y="65"/>
                    </a:lnTo>
                    <a:lnTo>
                      <a:pt x="161" y="65"/>
                    </a:lnTo>
                    <a:lnTo>
                      <a:pt x="161" y="66"/>
                    </a:lnTo>
                    <a:lnTo>
                      <a:pt x="160" y="66"/>
                    </a:lnTo>
                    <a:lnTo>
                      <a:pt x="160" y="67"/>
                    </a:lnTo>
                    <a:lnTo>
                      <a:pt x="159" y="67"/>
                    </a:lnTo>
                    <a:lnTo>
                      <a:pt x="159" y="67"/>
                    </a:lnTo>
                    <a:lnTo>
                      <a:pt x="158" y="67"/>
                    </a:lnTo>
                    <a:lnTo>
                      <a:pt x="159" y="68"/>
                    </a:lnTo>
                    <a:lnTo>
                      <a:pt x="159" y="68"/>
                    </a:lnTo>
                    <a:lnTo>
                      <a:pt x="159" y="69"/>
                    </a:lnTo>
                    <a:lnTo>
                      <a:pt x="159" y="69"/>
                    </a:lnTo>
                    <a:lnTo>
                      <a:pt x="160" y="70"/>
                    </a:lnTo>
                    <a:lnTo>
                      <a:pt x="161" y="70"/>
                    </a:lnTo>
                    <a:lnTo>
                      <a:pt x="161" y="71"/>
                    </a:lnTo>
                    <a:lnTo>
                      <a:pt x="161" y="71"/>
                    </a:lnTo>
                    <a:lnTo>
                      <a:pt x="162" y="72"/>
                    </a:lnTo>
                    <a:lnTo>
                      <a:pt x="162" y="72"/>
                    </a:lnTo>
                    <a:lnTo>
                      <a:pt x="162" y="73"/>
                    </a:lnTo>
                    <a:lnTo>
                      <a:pt x="162" y="74"/>
                    </a:lnTo>
                    <a:lnTo>
                      <a:pt x="162" y="74"/>
                    </a:lnTo>
                    <a:lnTo>
                      <a:pt x="162" y="75"/>
                    </a:lnTo>
                    <a:lnTo>
                      <a:pt x="160" y="76"/>
                    </a:lnTo>
                    <a:lnTo>
                      <a:pt x="159" y="76"/>
                    </a:lnTo>
                    <a:lnTo>
                      <a:pt x="157" y="77"/>
                    </a:lnTo>
                    <a:lnTo>
                      <a:pt x="156" y="78"/>
                    </a:lnTo>
                    <a:lnTo>
                      <a:pt x="154" y="78"/>
                    </a:lnTo>
                    <a:lnTo>
                      <a:pt x="153" y="80"/>
                    </a:lnTo>
                    <a:lnTo>
                      <a:pt x="152" y="80"/>
                    </a:lnTo>
                    <a:lnTo>
                      <a:pt x="151" y="81"/>
                    </a:lnTo>
                    <a:lnTo>
                      <a:pt x="149" y="83"/>
                    </a:lnTo>
                    <a:lnTo>
                      <a:pt x="146" y="85"/>
                    </a:lnTo>
                    <a:lnTo>
                      <a:pt x="145" y="86"/>
                    </a:lnTo>
                    <a:lnTo>
                      <a:pt x="144" y="87"/>
                    </a:lnTo>
                    <a:lnTo>
                      <a:pt x="143" y="88"/>
                    </a:lnTo>
                    <a:lnTo>
                      <a:pt x="142" y="89"/>
                    </a:lnTo>
                    <a:lnTo>
                      <a:pt x="141" y="89"/>
                    </a:lnTo>
                    <a:lnTo>
                      <a:pt x="140" y="89"/>
                    </a:lnTo>
                    <a:lnTo>
                      <a:pt x="140" y="90"/>
                    </a:lnTo>
                    <a:lnTo>
                      <a:pt x="139" y="90"/>
                    </a:lnTo>
                    <a:lnTo>
                      <a:pt x="139" y="91"/>
                    </a:lnTo>
                    <a:lnTo>
                      <a:pt x="138" y="91"/>
                    </a:lnTo>
                    <a:lnTo>
                      <a:pt x="137" y="93"/>
                    </a:lnTo>
                    <a:lnTo>
                      <a:pt x="137" y="93"/>
                    </a:lnTo>
                    <a:lnTo>
                      <a:pt x="136" y="94"/>
                    </a:lnTo>
                    <a:lnTo>
                      <a:pt x="136" y="94"/>
                    </a:lnTo>
                    <a:lnTo>
                      <a:pt x="135" y="95"/>
                    </a:lnTo>
                    <a:lnTo>
                      <a:pt x="134" y="95"/>
                    </a:lnTo>
                    <a:lnTo>
                      <a:pt x="134" y="95"/>
                    </a:lnTo>
                    <a:lnTo>
                      <a:pt x="133" y="95"/>
                    </a:lnTo>
                    <a:lnTo>
                      <a:pt x="132" y="95"/>
                    </a:lnTo>
                    <a:lnTo>
                      <a:pt x="132" y="96"/>
                    </a:lnTo>
                    <a:lnTo>
                      <a:pt x="131" y="97"/>
                    </a:lnTo>
                    <a:lnTo>
                      <a:pt x="131" y="98"/>
                    </a:lnTo>
                    <a:lnTo>
                      <a:pt x="131" y="98"/>
                    </a:lnTo>
                    <a:lnTo>
                      <a:pt x="131" y="99"/>
                    </a:lnTo>
                    <a:lnTo>
                      <a:pt x="130" y="100"/>
                    </a:lnTo>
                    <a:lnTo>
                      <a:pt x="130" y="100"/>
                    </a:lnTo>
                    <a:lnTo>
                      <a:pt x="129" y="101"/>
                    </a:lnTo>
                    <a:lnTo>
                      <a:pt x="129" y="101"/>
                    </a:lnTo>
                    <a:lnTo>
                      <a:pt x="128" y="101"/>
                    </a:lnTo>
                    <a:lnTo>
                      <a:pt x="128" y="102"/>
                    </a:lnTo>
                    <a:lnTo>
                      <a:pt x="127" y="102"/>
                    </a:lnTo>
                    <a:lnTo>
                      <a:pt x="126" y="102"/>
                    </a:lnTo>
                    <a:lnTo>
                      <a:pt x="125" y="102"/>
                    </a:lnTo>
                    <a:lnTo>
                      <a:pt x="124" y="102"/>
                    </a:lnTo>
                    <a:lnTo>
                      <a:pt x="123" y="102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21" y="102"/>
                    </a:lnTo>
                    <a:lnTo>
                      <a:pt x="120" y="102"/>
                    </a:lnTo>
                    <a:lnTo>
                      <a:pt x="120" y="101"/>
                    </a:lnTo>
                    <a:lnTo>
                      <a:pt x="119" y="101"/>
                    </a:lnTo>
                    <a:lnTo>
                      <a:pt x="119" y="100"/>
                    </a:lnTo>
                    <a:lnTo>
                      <a:pt x="119" y="100"/>
                    </a:lnTo>
                    <a:lnTo>
                      <a:pt x="118" y="99"/>
                    </a:lnTo>
                    <a:lnTo>
                      <a:pt x="118" y="99"/>
                    </a:lnTo>
                    <a:lnTo>
                      <a:pt x="118" y="98"/>
                    </a:lnTo>
                    <a:lnTo>
                      <a:pt x="118" y="97"/>
                    </a:lnTo>
                    <a:lnTo>
                      <a:pt x="118" y="95"/>
                    </a:lnTo>
                    <a:lnTo>
                      <a:pt x="118" y="94"/>
                    </a:lnTo>
                    <a:lnTo>
                      <a:pt x="118" y="94"/>
                    </a:lnTo>
                    <a:lnTo>
                      <a:pt x="117" y="94"/>
                    </a:lnTo>
                    <a:lnTo>
                      <a:pt x="116" y="95"/>
                    </a:lnTo>
                    <a:lnTo>
                      <a:pt x="115" y="95"/>
                    </a:lnTo>
                    <a:lnTo>
                      <a:pt x="114" y="96"/>
                    </a:lnTo>
                    <a:lnTo>
                      <a:pt x="113" y="97"/>
                    </a:lnTo>
                    <a:lnTo>
                      <a:pt x="112" y="97"/>
                    </a:lnTo>
                    <a:lnTo>
                      <a:pt x="112" y="97"/>
                    </a:lnTo>
                    <a:lnTo>
                      <a:pt x="111" y="97"/>
                    </a:lnTo>
                    <a:lnTo>
                      <a:pt x="110" y="97"/>
                    </a:lnTo>
                    <a:lnTo>
                      <a:pt x="109" y="97"/>
                    </a:lnTo>
                    <a:lnTo>
                      <a:pt x="108" y="97"/>
                    </a:lnTo>
                    <a:lnTo>
                      <a:pt x="107" y="98"/>
                    </a:lnTo>
                    <a:lnTo>
                      <a:pt x="107" y="98"/>
                    </a:lnTo>
                    <a:lnTo>
                      <a:pt x="106" y="99"/>
                    </a:lnTo>
                    <a:lnTo>
                      <a:pt x="105" y="100"/>
                    </a:lnTo>
                    <a:lnTo>
                      <a:pt x="105" y="101"/>
                    </a:lnTo>
                    <a:lnTo>
                      <a:pt x="105" y="102"/>
                    </a:lnTo>
                    <a:lnTo>
                      <a:pt x="104" y="103"/>
                    </a:lnTo>
                    <a:lnTo>
                      <a:pt x="104" y="104"/>
                    </a:lnTo>
                    <a:lnTo>
                      <a:pt x="103" y="106"/>
                    </a:lnTo>
                    <a:lnTo>
                      <a:pt x="103" y="107"/>
                    </a:lnTo>
                    <a:lnTo>
                      <a:pt x="102" y="109"/>
                    </a:lnTo>
                    <a:lnTo>
                      <a:pt x="102" y="109"/>
                    </a:lnTo>
                    <a:lnTo>
                      <a:pt x="101" y="110"/>
                    </a:lnTo>
                    <a:lnTo>
                      <a:pt x="101" y="111"/>
                    </a:lnTo>
                    <a:lnTo>
                      <a:pt x="100" y="112"/>
                    </a:lnTo>
                    <a:lnTo>
                      <a:pt x="98" y="112"/>
                    </a:lnTo>
                    <a:lnTo>
                      <a:pt x="97" y="112"/>
                    </a:lnTo>
                    <a:lnTo>
                      <a:pt x="95" y="112"/>
                    </a:lnTo>
                    <a:lnTo>
                      <a:pt x="94" y="112"/>
                    </a:lnTo>
                    <a:lnTo>
                      <a:pt x="93" y="112"/>
                    </a:lnTo>
                    <a:lnTo>
                      <a:pt x="91" y="112"/>
                    </a:lnTo>
                    <a:lnTo>
                      <a:pt x="89" y="111"/>
                    </a:lnTo>
                    <a:lnTo>
                      <a:pt x="87" y="111"/>
                    </a:lnTo>
                    <a:lnTo>
                      <a:pt x="85" y="111"/>
                    </a:lnTo>
                    <a:lnTo>
                      <a:pt x="84" y="110"/>
                    </a:lnTo>
                    <a:lnTo>
                      <a:pt x="83" y="110"/>
                    </a:lnTo>
                    <a:lnTo>
                      <a:pt x="81" y="110"/>
                    </a:lnTo>
                    <a:lnTo>
                      <a:pt x="80" y="110"/>
                    </a:lnTo>
                    <a:lnTo>
                      <a:pt x="78" y="110"/>
                    </a:lnTo>
                    <a:lnTo>
                      <a:pt x="78" y="110"/>
                    </a:lnTo>
                    <a:lnTo>
                      <a:pt x="78" y="109"/>
                    </a:lnTo>
                    <a:lnTo>
                      <a:pt x="78" y="108"/>
                    </a:lnTo>
                    <a:lnTo>
                      <a:pt x="77" y="107"/>
                    </a:lnTo>
                    <a:lnTo>
                      <a:pt x="76" y="107"/>
                    </a:lnTo>
                    <a:lnTo>
                      <a:pt x="76" y="106"/>
                    </a:lnTo>
                    <a:lnTo>
                      <a:pt x="75" y="105"/>
                    </a:lnTo>
                    <a:lnTo>
                      <a:pt x="75" y="105"/>
                    </a:lnTo>
                    <a:lnTo>
                      <a:pt x="75" y="104"/>
                    </a:lnTo>
                    <a:lnTo>
                      <a:pt x="75" y="104"/>
                    </a:lnTo>
                    <a:lnTo>
                      <a:pt x="75" y="103"/>
                    </a:lnTo>
                    <a:lnTo>
                      <a:pt x="75" y="102"/>
                    </a:lnTo>
                    <a:lnTo>
                      <a:pt x="74" y="102"/>
                    </a:lnTo>
                    <a:lnTo>
                      <a:pt x="73" y="102"/>
                    </a:lnTo>
                    <a:lnTo>
                      <a:pt x="73" y="102"/>
                    </a:lnTo>
                    <a:lnTo>
                      <a:pt x="72" y="102"/>
                    </a:lnTo>
                    <a:lnTo>
                      <a:pt x="71" y="103"/>
                    </a:lnTo>
                    <a:lnTo>
                      <a:pt x="71" y="102"/>
                    </a:lnTo>
                    <a:lnTo>
                      <a:pt x="70" y="102"/>
                    </a:lnTo>
                    <a:lnTo>
                      <a:pt x="69" y="102"/>
                    </a:lnTo>
                    <a:lnTo>
                      <a:pt x="68" y="102"/>
                    </a:lnTo>
                    <a:lnTo>
                      <a:pt x="67" y="101"/>
                    </a:lnTo>
                    <a:lnTo>
                      <a:pt x="67" y="101"/>
                    </a:lnTo>
                    <a:lnTo>
                      <a:pt x="66" y="100"/>
                    </a:lnTo>
                    <a:lnTo>
                      <a:pt x="65" y="99"/>
                    </a:lnTo>
                    <a:lnTo>
                      <a:pt x="64" y="98"/>
                    </a:lnTo>
                    <a:lnTo>
                      <a:pt x="64" y="97"/>
                    </a:lnTo>
                    <a:lnTo>
                      <a:pt x="63" y="96"/>
                    </a:lnTo>
                    <a:lnTo>
                      <a:pt x="62" y="96"/>
                    </a:lnTo>
                    <a:lnTo>
                      <a:pt x="62" y="95"/>
                    </a:lnTo>
                    <a:lnTo>
                      <a:pt x="61" y="95"/>
                    </a:lnTo>
                    <a:lnTo>
                      <a:pt x="60" y="96"/>
                    </a:lnTo>
                    <a:lnTo>
                      <a:pt x="59" y="96"/>
                    </a:lnTo>
                    <a:lnTo>
                      <a:pt x="58" y="96"/>
                    </a:lnTo>
                    <a:lnTo>
                      <a:pt x="58" y="97"/>
                    </a:lnTo>
                    <a:lnTo>
                      <a:pt x="57" y="97"/>
                    </a:lnTo>
                    <a:lnTo>
                      <a:pt x="56" y="98"/>
                    </a:lnTo>
                    <a:lnTo>
                      <a:pt x="55" y="99"/>
                    </a:lnTo>
                    <a:lnTo>
                      <a:pt x="54" y="99"/>
                    </a:lnTo>
                    <a:lnTo>
                      <a:pt x="53" y="100"/>
                    </a:lnTo>
                    <a:lnTo>
                      <a:pt x="53" y="100"/>
                    </a:lnTo>
                    <a:lnTo>
                      <a:pt x="52" y="100"/>
                    </a:lnTo>
                    <a:lnTo>
                      <a:pt x="51" y="100"/>
                    </a:lnTo>
                    <a:lnTo>
                      <a:pt x="50" y="100"/>
                    </a:lnTo>
                    <a:lnTo>
                      <a:pt x="49" y="100"/>
                    </a:lnTo>
                    <a:lnTo>
                      <a:pt x="49" y="99"/>
                    </a:lnTo>
                    <a:lnTo>
                      <a:pt x="48" y="99"/>
                    </a:lnTo>
                    <a:lnTo>
                      <a:pt x="47" y="98"/>
                    </a:lnTo>
                    <a:lnTo>
                      <a:pt x="47" y="98"/>
                    </a:lnTo>
                    <a:lnTo>
                      <a:pt x="46" y="98"/>
                    </a:lnTo>
                    <a:lnTo>
                      <a:pt x="45" y="97"/>
                    </a:lnTo>
                    <a:lnTo>
                      <a:pt x="44" y="97"/>
                    </a:lnTo>
                    <a:lnTo>
                      <a:pt x="43" y="97"/>
                    </a:lnTo>
                    <a:lnTo>
                      <a:pt x="42" y="97"/>
                    </a:lnTo>
                    <a:lnTo>
                      <a:pt x="40" y="97"/>
                    </a:lnTo>
                    <a:lnTo>
                      <a:pt x="37" y="97"/>
                    </a:lnTo>
                    <a:lnTo>
                      <a:pt x="35" y="97"/>
                    </a:lnTo>
                    <a:lnTo>
                      <a:pt x="33" y="95"/>
                    </a:lnTo>
                    <a:lnTo>
                      <a:pt x="31" y="93"/>
                    </a:lnTo>
                    <a:lnTo>
                      <a:pt x="30" y="92"/>
                    </a:lnTo>
                    <a:lnTo>
                      <a:pt x="30" y="91"/>
                    </a:lnTo>
                    <a:lnTo>
                      <a:pt x="29" y="90"/>
                    </a:lnTo>
                    <a:lnTo>
                      <a:pt x="28" y="89"/>
                    </a:lnTo>
                    <a:lnTo>
                      <a:pt x="27" y="89"/>
                    </a:lnTo>
                    <a:lnTo>
                      <a:pt x="25" y="89"/>
                    </a:lnTo>
                    <a:lnTo>
                      <a:pt x="24" y="89"/>
                    </a:lnTo>
                    <a:lnTo>
                      <a:pt x="22" y="89"/>
                    </a:lnTo>
                    <a:lnTo>
                      <a:pt x="21" y="89"/>
                    </a:lnTo>
                    <a:lnTo>
                      <a:pt x="20" y="88"/>
                    </a:lnTo>
                    <a:lnTo>
                      <a:pt x="19" y="88"/>
                    </a:lnTo>
                    <a:lnTo>
                      <a:pt x="18" y="87"/>
                    </a:lnTo>
                    <a:lnTo>
                      <a:pt x="17" y="87"/>
                    </a:lnTo>
                    <a:lnTo>
                      <a:pt x="16" y="86"/>
                    </a:lnTo>
                    <a:lnTo>
                      <a:pt x="16" y="85"/>
                    </a:lnTo>
                    <a:lnTo>
                      <a:pt x="15" y="84"/>
                    </a:lnTo>
                    <a:lnTo>
                      <a:pt x="15" y="83"/>
                    </a:lnTo>
                    <a:lnTo>
                      <a:pt x="14" y="83"/>
                    </a:lnTo>
                    <a:lnTo>
                      <a:pt x="14" y="82"/>
                    </a:lnTo>
                    <a:lnTo>
                      <a:pt x="13" y="80"/>
                    </a:lnTo>
                    <a:lnTo>
                      <a:pt x="13" y="80"/>
                    </a:lnTo>
                    <a:lnTo>
                      <a:pt x="12" y="80"/>
                    </a:lnTo>
                    <a:lnTo>
                      <a:pt x="11" y="80"/>
                    </a:lnTo>
                    <a:lnTo>
                      <a:pt x="10" y="80"/>
                    </a:lnTo>
                    <a:lnTo>
                      <a:pt x="8" y="81"/>
                    </a:lnTo>
                    <a:lnTo>
                      <a:pt x="7" y="81"/>
                    </a:lnTo>
                    <a:lnTo>
                      <a:pt x="6" y="81"/>
                    </a:lnTo>
                    <a:lnTo>
                      <a:pt x="5" y="81"/>
                    </a:lnTo>
                    <a:lnTo>
                      <a:pt x="4" y="81"/>
                    </a:lnTo>
                    <a:lnTo>
                      <a:pt x="3" y="81"/>
                    </a:lnTo>
                    <a:lnTo>
                      <a:pt x="3" y="80"/>
                    </a:lnTo>
                    <a:lnTo>
                      <a:pt x="2" y="80"/>
                    </a:lnTo>
                    <a:lnTo>
                      <a:pt x="2" y="79"/>
                    </a:lnTo>
                    <a:lnTo>
                      <a:pt x="2" y="79"/>
                    </a:lnTo>
                    <a:lnTo>
                      <a:pt x="2" y="76"/>
                    </a:lnTo>
                    <a:lnTo>
                      <a:pt x="2" y="74"/>
                    </a:lnTo>
                    <a:lnTo>
                      <a:pt x="2" y="72"/>
                    </a:lnTo>
                    <a:lnTo>
                      <a:pt x="2" y="70"/>
                    </a:lnTo>
                    <a:lnTo>
                      <a:pt x="1" y="68"/>
                    </a:lnTo>
                    <a:lnTo>
                      <a:pt x="1" y="65"/>
                    </a:lnTo>
                    <a:lnTo>
                      <a:pt x="1" y="65"/>
                    </a:lnTo>
                    <a:lnTo>
                      <a:pt x="1" y="64"/>
                    </a:lnTo>
                    <a:lnTo>
                      <a:pt x="0" y="63"/>
                    </a:lnTo>
                    <a:lnTo>
                      <a:pt x="0" y="62"/>
                    </a:lnTo>
                    <a:lnTo>
                      <a:pt x="3" y="60"/>
                    </a:lnTo>
                    <a:lnTo>
                      <a:pt x="4" y="59"/>
                    </a:lnTo>
                    <a:lnTo>
                      <a:pt x="5" y="58"/>
                    </a:lnTo>
                    <a:lnTo>
                      <a:pt x="6" y="57"/>
                    </a:lnTo>
                    <a:lnTo>
                      <a:pt x="7" y="56"/>
                    </a:lnTo>
                    <a:lnTo>
                      <a:pt x="8" y="54"/>
                    </a:lnTo>
                    <a:lnTo>
                      <a:pt x="9" y="53"/>
                    </a:lnTo>
                    <a:lnTo>
                      <a:pt x="10" y="52"/>
                    </a:lnTo>
                    <a:lnTo>
                      <a:pt x="11" y="51"/>
                    </a:lnTo>
                    <a:lnTo>
                      <a:pt x="12" y="49"/>
                    </a:lnTo>
                    <a:lnTo>
                      <a:pt x="13" y="48"/>
                    </a:lnTo>
                    <a:lnTo>
                      <a:pt x="14" y="46"/>
                    </a:lnTo>
                    <a:lnTo>
                      <a:pt x="14" y="44"/>
                    </a:lnTo>
                    <a:lnTo>
                      <a:pt x="15" y="42"/>
                    </a:lnTo>
                    <a:lnTo>
                      <a:pt x="15" y="40"/>
                    </a:lnTo>
                    <a:lnTo>
                      <a:pt x="16" y="41"/>
                    </a:lnTo>
                    <a:lnTo>
                      <a:pt x="17" y="41"/>
                    </a:lnTo>
                    <a:lnTo>
                      <a:pt x="18" y="41"/>
                    </a:lnTo>
                    <a:lnTo>
                      <a:pt x="19" y="41"/>
                    </a:lnTo>
                    <a:lnTo>
                      <a:pt x="19" y="41"/>
                    </a:lnTo>
                    <a:lnTo>
                      <a:pt x="20" y="41"/>
                    </a:lnTo>
                    <a:lnTo>
                      <a:pt x="22" y="41"/>
                    </a:lnTo>
                    <a:lnTo>
                      <a:pt x="23" y="41"/>
                    </a:lnTo>
                    <a:lnTo>
                      <a:pt x="24" y="41"/>
                    </a:lnTo>
                    <a:lnTo>
                      <a:pt x="25" y="41"/>
                    </a:lnTo>
                    <a:lnTo>
                      <a:pt x="26" y="41"/>
                    </a:lnTo>
                    <a:lnTo>
                      <a:pt x="27" y="40"/>
                    </a:lnTo>
                    <a:lnTo>
                      <a:pt x="28" y="40"/>
                    </a:lnTo>
                    <a:lnTo>
                      <a:pt x="29" y="40"/>
                    </a:lnTo>
                    <a:lnTo>
                      <a:pt x="30" y="39"/>
                    </a:lnTo>
                    <a:lnTo>
                      <a:pt x="31" y="39"/>
                    </a:lnTo>
                    <a:lnTo>
                      <a:pt x="32" y="38"/>
                    </a:lnTo>
                    <a:lnTo>
                      <a:pt x="34" y="38"/>
                    </a:lnTo>
                    <a:lnTo>
                      <a:pt x="34" y="37"/>
                    </a:lnTo>
                    <a:lnTo>
                      <a:pt x="35" y="37"/>
                    </a:lnTo>
                    <a:lnTo>
                      <a:pt x="35" y="37"/>
                    </a:lnTo>
                    <a:lnTo>
                      <a:pt x="36" y="37"/>
                    </a:lnTo>
                    <a:lnTo>
                      <a:pt x="36" y="37"/>
                    </a:lnTo>
                    <a:lnTo>
                      <a:pt x="37" y="37"/>
                    </a:lnTo>
                    <a:lnTo>
                      <a:pt x="39" y="37"/>
                    </a:lnTo>
                    <a:lnTo>
                      <a:pt x="40" y="36"/>
                    </a:lnTo>
                    <a:lnTo>
                      <a:pt x="42" y="36"/>
                    </a:lnTo>
                    <a:lnTo>
                      <a:pt x="44" y="36"/>
                    </a:lnTo>
                    <a:lnTo>
                      <a:pt x="45" y="35"/>
                    </a:lnTo>
                    <a:lnTo>
                      <a:pt x="46" y="34"/>
                    </a:lnTo>
                    <a:lnTo>
                      <a:pt x="48" y="34"/>
                    </a:lnTo>
                    <a:lnTo>
                      <a:pt x="49" y="33"/>
                    </a:lnTo>
                    <a:lnTo>
                      <a:pt x="50" y="32"/>
                    </a:lnTo>
                    <a:lnTo>
                      <a:pt x="52" y="31"/>
                    </a:lnTo>
                    <a:lnTo>
                      <a:pt x="54" y="29"/>
                    </a:lnTo>
                    <a:lnTo>
                      <a:pt x="56" y="27"/>
                    </a:lnTo>
                    <a:lnTo>
                      <a:pt x="58" y="25"/>
                    </a:lnTo>
                    <a:lnTo>
                      <a:pt x="59" y="25"/>
                    </a:lnTo>
                    <a:lnTo>
                      <a:pt x="59" y="25"/>
                    </a:lnTo>
                    <a:lnTo>
                      <a:pt x="59" y="25"/>
                    </a:lnTo>
                    <a:lnTo>
                      <a:pt x="59" y="25"/>
                    </a:lnTo>
                    <a:lnTo>
                      <a:pt x="59" y="25"/>
                    </a:lnTo>
                    <a:lnTo>
                      <a:pt x="59" y="25"/>
                    </a:lnTo>
                    <a:lnTo>
                      <a:pt x="59" y="24"/>
                    </a:lnTo>
                    <a:lnTo>
                      <a:pt x="59" y="24"/>
                    </a:lnTo>
                    <a:lnTo>
                      <a:pt x="59" y="24"/>
                    </a:lnTo>
                    <a:lnTo>
                      <a:pt x="59" y="24"/>
                    </a:lnTo>
                    <a:lnTo>
                      <a:pt x="58" y="24"/>
                    </a:lnTo>
                    <a:lnTo>
                      <a:pt x="58" y="23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8" y="21"/>
                    </a:lnTo>
                    <a:lnTo>
                      <a:pt x="57" y="20"/>
                    </a:lnTo>
                    <a:lnTo>
                      <a:pt x="57" y="20"/>
                    </a:lnTo>
                    <a:lnTo>
                      <a:pt x="56" y="19"/>
                    </a:lnTo>
                    <a:lnTo>
                      <a:pt x="56" y="18"/>
                    </a:lnTo>
                    <a:lnTo>
                      <a:pt x="55" y="18"/>
                    </a:lnTo>
                    <a:lnTo>
                      <a:pt x="55" y="17"/>
                    </a:lnTo>
                    <a:lnTo>
                      <a:pt x="55" y="16"/>
                    </a:lnTo>
                    <a:lnTo>
                      <a:pt x="55" y="15"/>
                    </a:lnTo>
                    <a:lnTo>
                      <a:pt x="55" y="14"/>
                    </a:lnTo>
                    <a:lnTo>
                      <a:pt x="55" y="13"/>
                    </a:lnTo>
                    <a:lnTo>
                      <a:pt x="55" y="13"/>
                    </a:lnTo>
                    <a:lnTo>
                      <a:pt x="55" y="12"/>
                    </a:lnTo>
                    <a:lnTo>
                      <a:pt x="55" y="12"/>
                    </a:lnTo>
                    <a:lnTo>
                      <a:pt x="55" y="11"/>
                    </a:lnTo>
                    <a:lnTo>
                      <a:pt x="55" y="11"/>
                    </a:lnTo>
                    <a:lnTo>
                      <a:pt x="55" y="11"/>
                    </a:lnTo>
                    <a:lnTo>
                      <a:pt x="55" y="10"/>
                    </a:lnTo>
                    <a:lnTo>
                      <a:pt x="55" y="9"/>
                    </a:lnTo>
                    <a:lnTo>
                      <a:pt x="55" y="8"/>
                    </a:lnTo>
                    <a:lnTo>
                      <a:pt x="55" y="7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7" y="5"/>
                    </a:lnTo>
                    <a:lnTo>
                      <a:pt x="58" y="4"/>
                    </a:lnTo>
                    <a:lnTo>
                      <a:pt x="59" y="4"/>
                    </a:lnTo>
                    <a:lnTo>
                      <a:pt x="60" y="3"/>
                    </a:lnTo>
                    <a:lnTo>
                      <a:pt x="61" y="3"/>
                    </a:lnTo>
                    <a:lnTo>
                      <a:pt x="62" y="3"/>
                    </a:lnTo>
                    <a:lnTo>
                      <a:pt x="63" y="2"/>
                    </a:lnTo>
                    <a:lnTo>
                      <a:pt x="65" y="2"/>
                    </a:lnTo>
                    <a:lnTo>
                      <a:pt x="66" y="2"/>
                    </a:lnTo>
                    <a:lnTo>
                      <a:pt x="67" y="2"/>
                    </a:lnTo>
                    <a:lnTo>
                      <a:pt x="69" y="2"/>
                    </a:lnTo>
                    <a:lnTo>
                      <a:pt x="70" y="2"/>
                    </a:lnTo>
                    <a:lnTo>
                      <a:pt x="72" y="2"/>
                    </a:lnTo>
                    <a:lnTo>
                      <a:pt x="73" y="2"/>
                    </a:lnTo>
                    <a:lnTo>
                      <a:pt x="74" y="2"/>
                    </a:lnTo>
                    <a:lnTo>
                      <a:pt x="74" y="2"/>
                    </a:lnTo>
                    <a:lnTo>
                      <a:pt x="74" y="2"/>
                    </a:lnTo>
                    <a:lnTo>
                      <a:pt x="75" y="2"/>
                    </a:lnTo>
                    <a:lnTo>
                      <a:pt x="75" y="2"/>
                    </a:lnTo>
                    <a:lnTo>
                      <a:pt x="75" y="1"/>
                    </a:lnTo>
                    <a:lnTo>
                      <a:pt x="75" y="1"/>
                    </a:lnTo>
                    <a:lnTo>
                      <a:pt x="75" y="1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defTabSz="914308">
                  <a:defRPr/>
                </a:pPr>
                <a:endParaRPr lang="en-US" sz="9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01" name="Freeform 5"/>
              <p:cNvSpPr>
                <a:spLocks/>
              </p:cNvSpPr>
              <p:nvPr/>
            </p:nvSpPr>
            <p:spPr bwMode="auto">
              <a:xfrm>
                <a:off x="27932" y="2473494"/>
                <a:ext cx="1255843" cy="778473"/>
              </a:xfrm>
              <a:custGeom>
                <a:avLst/>
                <a:gdLst/>
                <a:ahLst/>
                <a:cxnLst>
                  <a:cxn ang="0">
                    <a:pos x="110" y="1"/>
                  </a:cxn>
                  <a:cxn ang="0">
                    <a:pos x="111" y="5"/>
                  </a:cxn>
                  <a:cxn ang="0">
                    <a:pos x="113" y="8"/>
                  </a:cxn>
                  <a:cxn ang="0">
                    <a:pos x="122" y="9"/>
                  </a:cxn>
                  <a:cxn ang="0">
                    <a:pos x="126" y="5"/>
                  </a:cxn>
                  <a:cxn ang="0">
                    <a:pos x="131" y="4"/>
                  </a:cxn>
                  <a:cxn ang="0">
                    <a:pos x="133" y="9"/>
                  </a:cxn>
                  <a:cxn ang="0">
                    <a:pos x="135" y="12"/>
                  </a:cxn>
                  <a:cxn ang="0">
                    <a:pos x="139" y="13"/>
                  </a:cxn>
                  <a:cxn ang="0">
                    <a:pos x="148" y="15"/>
                  </a:cxn>
                  <a:cxn ang="0">
                    <a:pos x="153" y="19"/>
                  </a:cxn>
                  <a:cxn ang="0">
                    <a:pos x="157" y="25"/>
                  </a:cxn>
                  <a:cxn ang="0">
                    <a:pos x="162" y="31"/>
                  </a:cxn>
                  <a:cxn ang="0">
                    <a:pos x="166" y="38"/>
                  </a:cxn>
                  <a:cxn ang="0">
                    <a:pos x="164" y="43"/>
                  </a:cxn>
                  <a:cxn ang="0">
                    <a:pos x="166" y="46"/>
                  </a:cxn>
                  <a:cxn ang="0">
                    <a:pos x="168" y="49"/>
                  </a:cxn>
                  <a:cxn ang="0">
                    <a:pos x="168" y="55"/>
                  </a:cxn>
                  <a:cxn ang="0">
                    <a:pos x="162" y="71"/>
                  </a:cxn>
                  <a:cxn ang="0">
                    <a:pos x="145" y="79"/>
                  </a:cxn>
                  <a:cxn ang="0">
                    <a:pos x="138" y="83"/>
                  </a:cxn>
                  <a:cxn ang="0">
                    <a:pos x="128" y="86"/>
                  </a:cxn>
                  <a:cxn ang="0">
                    <a:pos x="121" y="95"/>
                  </a:cxn>
                  <a:cxn ang="0">
                    <a:pos x="111" y="90"/>
                  </a:cxn>
                  <a:cxn ang="0">
                    <a:pos x="105" y="85"/>
                  </a:cxn>
                  <a:cxn ang="0">
                    <a:pos x="90" y="87"/>
                  </a:cxn>
                  <a:cxn ang="0">
                    <a:pos x="72" y="91"/>
                  </a:cxn>
                  <a:cxn ang="0">
                    <a:pos x="61" y="97"/>
                  </a:cxn>
                  <a:cxn ang="0">
                    <a:pos x="43" y="91"/>
                  </a:cxn>
                  <a:cxn ang="0">
                    <a:pos x="26" y="88"/>
                  </a:cxn>
                  <a:cxn ang="0">
                    <a:pos x="18" y="87"/>
                  </a:cxn>
                  <a:cxn ang="0">
                    <a:pos x="5" y="79"/>
                  </a:cxn>
                  <a:cxn ang="0">
                    <a:pos x="0" y="74"/>
                  </a:cxn>
                  <a:cxn ang="0">
                    <a:pos x="3" y="69"/>
                  </a:cxn>
                  <a:cxn ang="0">
                    <a:pos x="6" y="65"/>
                  </a:cxn>
                  <a:cxn ang="0">
                    <a:pos x="11" y="62"/>
                  </a:cxn>
                  <a:cxn ang="0">
                    <a:pos x="16" y="57"/>
                  </a:cxn>
                  <a:cxn ang="0">
                    <a:pos x="14" y="50"/>
                  </a:cxn>
                  <a:cxn ang="0">
                    <a:pos x="14" y="46"/>
                  </a:cxn>
                  <a:cxn ang="0">
                    <a:pos x="16" y="42"/>
                  </a:cxn>
                  <a:cxn ang="0">
                    <a:pos x="17" y="37"/>
                  </a:cxn>
                  <a:cxn ang="0">
                    <a:pos x="23" y="35"/>
                  </a:cxn>
                  <a:cxn ang="0">
                    <a:pos x="28" y="32"/>
                  </a:cxn>
                  <a:cxn ang="0">
                    <a:pos x="30" y="24"/>
                  </a:cxn>
                  <a:cxn ang="0">
                    <a:pos x="36" y="27"/>
                  </a:cxn>
                  <a:cxn ang="0">
                    <a:pos x="38" y="31"/>
                  </a:cxn>
                  <a:cxn ang="0">
                    <a:pos x="39" y="39"/>
                  </a:cxn>
                  <a:cxn ang="0">
                    <a:pos x="41" y="43"/>
                  </a:cxn>
                  <a:cxn ang="0">
                    <a:pos x="50" y="45"/>
                  </a:cxn>
                  <a:cxn ang="0">
                    <a:pos x="57" y="44"/>
                  </a:cxn>
                  <a:cxn ang="0">
                    <a:pos x="59" y="44"/>
                  </a:cxn>
                  <a:cxn ang="0">
                    <a:pos x="58" y="40"/>
                  </a:cxn>
                  <a:cxn ang="0">
                    <a:pos x="59" y="37"/>
                  </a:cxn>
                  <a:cxn ang="0">
                    <a:pos x="57" y="34"/>
                  </a:cxn>
                  <a:cxn ang="0">
                    <a:pos x="61" y="23"/>
                  </a:cxn>
                  <a:cxn ang="0">
                    <a:pos x="69" y="20"/>
                  </a:cxn>
                  <a:cxn ang="0">
                    <a:pos x="74" y="19"/>
                  </a:cxn>
                  <a:cxn ang="0">
                    <a:pos x="77" y="12"/>
                  </a:cxn>
                  <a:cxn ang="0">
                    <a:pos x="82" y="13"/>
                  </a:cxn>
                  <a:cxn ang="0">
                    <a:pos x="86" y="10"/>
                  </a:cxn>
                  <a:cxn ang="0">
                    <a:pos x="94" y="8"/>
                  </a:cxn>
                  <a:cxn ang="0">
                    <a:pos x="101" y="2"/>
                  </a:cxn>
                </a:cxnLst>
                <a:rect l="0" t="0" r="r" b="b"/>
                <a:pathLst>
                  <a:path w="168" h="97">
                    <a:moveTo>
                      <a:pt x="101" y="2"/>
                    </a:moveTo>
                    <a:lnTo>
                      <a:pt x="102" y="2"/>
                    </a:lnTo>
                    <a:lnTo>
                      <a:pt x="102" y="2"/>
                    </a:lnTo>
                    <a:lnTo>
                      <a:pt x="103" y="2"/>
                    </a:lnTo>
                    <a:lnTo>
                      <a:pt x="103" y="1"/>
                    </a:lnTo>
                    <a:lnTo>
                      <a:pt x="104" y="1"/>
                    </a:lnTo>
                    <a:lnTo>
                      <a:pt x="104" y="0"/>
                    </a:lnTo>
                    <a:lnTo>
                      <a:pt x="104" y="0"/>
                    </a:lnTo>
                    <a:lnTo>
                      <a:pt x="109" y="0"/>
                    </a:lnTo>
                    <a:lnTo>
                      <a:pt x="109" y="1"/>
                    </a:lnTo>
                    <a:lnTo>
                      <a:pt x="109" y="1"/>
                    </a:lnTo>
                    <a:lnTo>
                      <a:pt x="110" y="1"/>
                    </a:lnTo>
                    <a:lnTo>
                      <a:pt x="110" y="2"/>
                    </a:lnTo>
                    <a:lnTo>
                      <a:pt x="110" y="2"/>
                    </a:lnTo>
                    <a:lnTo>
                      <a:pt x="110" y="2"/>
                    </a:lnTo>
                    <a:lnTo>
                      <a:pt x="111" y="2"/>
                    </a:lnTo>
                    <a:lnTo>
                      <a:pt x="111" y="2"/>
                    </a:lnTo>
                    <a:lnTo>
                      <a:pt x="111" y="2"/>
                    </a:lnTo>
                    <a:lnTo>
                      <a:pt x="111" y="3"/>
                    </a:lnTo>
                    <a:lnTo>
                      <a:pt x="111" y="3"/>
                    </a:lnTo>
                    <a:lnTo>
                      <a:pt x="111" y="4"/>
                    </a:lnTo>
                    <a:lnTo>
                      <a:pt x="111" y="4"/>
                    </a:lnTo>
                    <a:lnTo>
                      <a:pt x="111" y="5"/>
                    </a:lnTo>
                    <a:lnTo>
                      <a:pt x="111" y="5"/>
                    </a:lnTo>
                    <a:lnTo>
                      <a:pt x="111" y="5"/>
                    </a:lnTo>
                    <a:lnTo>
                      <a:pt x="112" y="5"/>
                    </a:lnTo>
                    <a:lnTo>
                      <a:pt x="112" y="5"/>
                    </a:lnTo>
                    <a:lnTo>
                      <a:pt x="112" y="5"/>
                    </a:lnTo>
                    <a:lnTo>
                      <a:pt x="113" y="5"/>
                    </a:lnTo>
                    <a:lnTo>
                      <a:pt x="113" y="6"/>
                    </a:lnTo>
                    <a:lnTo>
                      <a:pt x="113" y="6"/>
                    </a:lnTo>
                    <a:lnTo>
                      <a:pt x="113" y="7"/>
                    </a:lnTo>
                    <a:lnTo>
                      <a:pt x="113" y="7"/>
                    </a:lnTo>
                    <a:lnTo>
                      <a:pt x="113" y="7"/>
                    </a:lnTo>
                    <a:lnTo>
                      <a:pt x="113" y="8"/>
                    </a:lnTo>
                    <a:lnTo>
                      <a:pt x="113" y="8"/>
                    </a:lnTo>
                    <a:lnTo>
                      <a:pt x="113" y="8"/>
                    </a:lnTo>
                    <a:lnTo>
                      <a:pt x="113" y="8"/>
                    </a:lnTo>
                    <a:lnTo>
                      <a:pt x="114" y="9"/>
                    </a:lnTo>
                    <a:lnTo>
                      <a:pt x="114" y="9"/>
                    </a:lnTo>
                    <a:lnTo>
                      <a:pt x="114" y="9"/>
                    </a:lnTo>
                    <a:lnTo>
                      <a:pt x="116" y="9"/>
                    </a:lnTo>
                    <a:lnTo>
                      <a:pt x="118" y="9"/>
                    </a:lnTo>
                    <a:lnTo>
                      <a:pt x="119" y="9"/>
                    </a:lnTo>
                    <a:lnTo>
                      <a:pt x="121" y="9"/>
                    </a:lnTo>
                    <a:lnTo>
                      <a:pt x="122" y="9"/>
                    </a:lnTo>
                    <a:lnTo>
                      <a:pt x="122" y="9"/>
                    </a:lnTo>
                    <a:lnTo>
                      <a:pt x="122" y="9"/>
                    </a:lnTo>
                    <a:lnTo>
                      <a:pt x="122" y="8"/>
                    </a:lnTo>
                    <a:lnTo>
                      <a:pt x="123" y="8"/>
                    </a:lnTo>
                    <a:lnTo>
                      <a:pt x="123" y="8"/>
                    </a:lnTo>
                    <a:lnTo>
                      <a:pt x="123" y="7"/>
                    </a:lnTo>
                    <a:lnTo>
                      <a:pt x="123" y="7"/>
                    </a:lnTo>
                    <a:lnTo>
                      <a:pt x="123" y="7"/>
                    </a:lnTo>
                    <a:lnTo>
                      <a:pt x="124" y="7"/>
                    </a:lnTo>
                    <a:lnTo>
                      <a:pt x="124" y="7"/>
                    </a:lnTo>
                    <a:lnTo>
                      <a:pt x="125" y="6"/>
                    </a:lnTo>
                    <a:lnTo>
                      <a:pt x="125" y="6"/>
                    </a:lnTo>
                    <a:lnTo>
                      <a:pt x="126" y="6"/>
                    </a:lnTo>
                    <a:lnTo>
                      <a:pt x="126" y="5"/>
                    </a:lnTo>
                    <a:lnTo>
                      <a:pt x="126" y="5"/>
                    </a:lnTo>
                    <a:lnTo>
                      <a:pt x="127" y="5"/>
                    </a:lnTo>
                    <a:lnTo>
                      <a:pt x="127" y="5"/>
                    </a:lnTo>
                    <a:lnTo>
                      <a:pt x="127" y="5"/>
                    </a:lnTo>
                    <a:lnTo>
                      <a:pt x="128" y="5"/>
                    </a:lnTo>
                    <a:lnTo>
                      <a:pt x="128" y="4"/>
                    </a:lnTo>
                    <a:lnTo>
                      <a:pt x="128" y="4"/>
                    </a:lnTo>
                    <a:lnTo>
                      <a:pt x="128" y="4"/>
                    </a:lnTo>
                    <a:lnTo>
                      <a:pt x="129" y="4"/>
                    </a:lnTo>
                    <a:lnTo>
                      <a:pt x="129" y="4"/>
                    </a:lnTo>
                    <a:lnTo>
                      <a:pt x="130" y="4"/>
                    </a:lnTo>
                    <a:lnTo>
                      <a:pt x="131" y="4"/>
                    </a:lnTo>
                    <a:lnTo>
                      <a:pt x="131" y="4"/>
                    </a:lnTo>
                    <a:lnTo>
                      <a:pt x="131" y="5"/>
                    </a:lnTo>
                    <a:lnTo>
                      <a:pt x="131" y="5"/>
                    </a:lnTo>
                    <a:lnTo>
                      <a:pt x="131" y="5"/>
                    </a:lnTo>
                    <a:lnTo>
                      <a:pt x="132" y="5"/>
                    </a:lnTo>
                    <a:lnTo>
                      <a:pt x="132" y="5"/>
                    </a:lnTo>
                    <a:lnTo>
                      <a:pt x="132" y="5"/>
                    </a:lnTo>
                    <a:lnTo>
                      <a:pt x="133" y="5"/>
                    </a:lnTo>
                    <a:lnTo>
                      <a:pt x="133" y="6"/>
                    </a:lnTo>
                    <a:lnTo>
                      <a:pt x="133" y="7"/>
                    </a:lnTo>
                    <a:lnTo>
                      <a:pt x="133" y="8"/>
                    </a:lnTo>
                    <a:lnTo>
                      <a:pt x="133" y="9"/>
                    </a:lnTo>
                    <a:lnTo>
                      <a:pt x="133" y="9"/>
                    </a:lnTo>
                    <a:lnTo>
                      <a:pt x="133" y="9"/>
                    </a:lnTo>
                    <a:lnTo>
                      <a:pt x="133" y="10"/>
                    </a:lnTo>
                    <a:lnTo>
                      <a:pt x="133" y="10"/>
                    </a:lnTo>
                    <a:lnTo>
                      <a:pt x="133" y="10"/>
                    </a:lnTo>
                    <a:lnTo>
                      <a:pt x="134" y="10"/>
                    </a:lnTo>
                    <a:lnTo>
                      <a:pt x="134" y="10"/>
                    </a:lnTo>
                    <a:lnTo>
                      <a:pt x="134" y="10"/>
                    </a:lnTo>
                    <a:lnTo>
                      <a:pt x="134" y="11"/>
                    </a:lnTo>
                    <a:lnTo>
                      <a:pt x="135" y="11"/>
                    </a:lnTo>
                    <a:lnTo>
                      <a:pt x="135" y="11"/>
                    </a:lnTo>
                    <a:lnTo>
                      <a:pt x="135" y="12"/>
                    </a:lnTo>
                    <a:lnTo>
                      <a:pt x="135" y="12"/>
                    </a:lnTo>
                    <a:lnTo>
                      <a:pt x="135" y="12"/>
                    </a:lnTo>
                    <a:lnTo>
                      <a:pt x="136" y="12"/>
                    </a:lnTo>
                    <a:lnTo>
                      <a:pt x="136" y="12"/>
                    </a:lnTo>
                    <a:lnTo>
                      <a:pt x="136" y="12"/>
                    </a:lnTo>
                    <a:lnTo>
                      <a:pt x="136" y="12"/>
                    </a:lnTo>
                    <a:lnTo>
                      <a:pt x="136" y="13"/>
                    </a:lnTo>
                    <a:lnTo>
                      <a:pt x="137" y="13"/>
                    </a:lnTo>
                    <a:lnTo>
                      <a:pt x="137" y="13"/>
                    </a:lnTo>
                    <a:lnTo>
                      <a:pt x="138" y="13"/>
                    </a:lnTo>
                    <a:lnTo>
                      <a:pt x="138" y="13"/>
                    </a:lnTo>
                    <a:lnTo>
                      <a:pt x="139" y="13"/>
                    </a:lnTo>
                    <a:lnTo>
                      <a:pt x="139" y="14"/>
                    </a:lnTo>
                    <a:lnTo>
                      <a:pt x="141" y="14"/>
                    </a:lnTo>
                    <a:lnTo>
                      <a:pt x="143" y="14"/>
                    </a:lnTo>
                    <a:lnTo>
                      <a:pt x="144" y="14"/>
                    </a:lnTo>
                    <a:lnTo>
                      <a:pt x="146" y="14"/>
                    </a:lnTo>
                    <a:lnTo>
                      <a:pt x="146" y="14"/>
                    </a:lnTo>
                    <a:lnTo>
                      <a:pt x="146" y="14"/>
                    </a:lnTo>
                    <a:lnTo>
                      <a:pt x="146" y="14"/>
                    </a:lnTo>
                    <a:lnTo>
                      <a:pt x="147" y="15"/>
                    </a:lnTo>
                    <a:lnTo>
                      <a:pt x="147" y="15"/>
                    </a:lnTo>
                    <a:lnTo>
                      <a:pt x="148" y="15"/>
                    </a:lnTo>
                    <a:lnTo>
                      <a:pt x="148" y="15"/>
                    </a:lnTo>
                    <a:lnTo>
                      <a:pt x="149" y="15"/>
                    </a:lnTo>
                    <a:lnTo>
                      <a:pt x="149" y="15"/>
                    </a:lnTo>
                    <a:lnTo>
                      <a:pt x="150" y="15"/>
                    </a:lnTo>
                    <a:lnTo>
                      <a:pt x="150" y="15"/>
                    </a:lnTo>
                    <a:lnTo>
                      <a:pt x="151" y="15"/>
                    </a:lnTo>
                    <a:lnTo>
                      <a:pt x="151" y="15"/>
                    </a:lnTo>
                    <a:lnTo>
                      <a:pt x="151" y="16"/>
                    </a:lnTo>
                    <a:lnTo>
                      <a:pt x="152" y="16"/>
                    </a:lnTo>
                    <a:lnTo>
                      <a:pt x="152" y="17"/>
                    </a:lnTo>
                    <a:lnTo>
                      <a:pt x="152" y="18"/>
                    </a:lnTo>
                    <a:lnTo>
                      <a:pt x="152" y="19"/>
                    </a:lnTo>
                    <a:lnTo>
                      <a:pt x="153" y="19"/>
                    </a:lnTo>
                    <a:lnTo>
                      <a:pt x="153" y="21"/>
                    </a:lnTo>
                    <a:lnTo>
                      <a:pt x="153" y="22"/>
                    </a:lnTo>
                    <a:lnTo>
                      <a:pt x="153" y="23"/>
                    </a:lnTo>
                    <a:lnTo>
                      <a:pt x="153" y="23"/>
                    </a:lnTo>
                    <a:lnTo>
                      <a:pt x="153" y="24"/>
                    </a:lnTo>
                    <a:lnTo>
                      <a:pt x="154" y="25"/>
                    </a:lnTo>
                    <a:lnTo>
                      <a:pt x="155" y="25"/>
                    </a:lnTo>
                    <a:lnTo>
                      <a:pt x="155" y="25"/>
                    </a:lnTo>
                    <a:lnTo>
                      <a:pt x="156" y="25"/>
                    </a:lnTo>
                    <a:lnTo>
                      <a:pt x="156" y="25"/>
                    </a:lnTo>
                    <a:lnTo>
                      <a:pt x="156" y="25"/>
                    </a:lnTo>
                    <a:lnTo>
                      <a:pt x="157" y="25"/>
                    </a:lnTo>
                    <a:lnTo>
                      <a:pt x="157" y="25"/>
                    </a:lnTo>
                    <a:lnTo>
                      <a:pt x="158" y="25"/>
                    </a:lnTo>
                    <a:lnTo>
                      <a:pt x="158" y="26"/>
                    </a:lnTo>
                    <a:lnTo>
                      <a:pt x="159" y="27"/>
                    </a:lnTo>
                    <a:lnTo>
                      <a:pt x="159" y="28"/>
                    </a:lnTo>
                    <a:lnTo>
                      <a:pt x="160" y="28"/>
                    </a:lnTo>
                    <a:lnTo>
                      <a:pt x="160" y="29"/>
                    </a:lnTo>
                    <a:lnTo>
                      <a:pt x="161" y="30"/>
                    </a:lnTo>
                    <a:lnTo>
                      <a:pt x="162" y="30"/>
                    </a:lnTo>
                    <a:lnTo>
                      <a:pt x="163" y="30"/>
                    </a:lnTo>
                    <a:lnTo>
                      <a:pt x="163" y="31"/>
                    </a:lnTo>
                    <a:lnTo>
                      <a:pt x="162" y="31"/>
                    </a:lnTo>
                    <a:lnTo>
                      <a:pt x="162" y="32"/>
                    </a:lnTo>
                    <a:lnTo>
                      <a:pt x="162" y="33"/>
                    </a:lnTo>
                    <a:lnTo>
                      <a:pt x="163" y="34"/>
                    </a:lnTo>
                    <a:lnTo>
                      <a:pt x="163" y="34"/>
                    </a:lnTo>
                    <a:lnTo>
                      <a:pt x="163" y="35"/>
                    </a:lnTo>
                    <a:lnTo>
                      <a:pt x="164" y="35"/>
                    </a:lnTo>
                    <a:lnTo>
                      <a:pt x="164" y="36"/>
                    </a:lnTo>
                    <a:lnTo>
                      <a:pt x="165" y="36"/>
                    </a:lnTo>
                    <a:lnTo>
                      <a:pt x="165" y="37"/>
                    </a:lnTo>
                    <a:lnTo>
                      <a:pt x="166" y="37"/>
                    </a:lnTo>
                    <a:lnTo>
                      <a:pt x="166" y="38"/>
                    </a:lnTo>
                    <a:lnTo>
                      <a:pt x="166" y="38"/>
                    </a:lnTo>
                    <a:lnTo>
                      <a:pt x="166" y="39"/>
                    </a:lnTo>
                    <a:lnTo>
                      <a:pt x="166" y="40"/>
                    </a:lnTo>
                    <a:lnTo>
                      <a:pt x="166" y="40"/>
                    </a:lnTo>
                    <a:lnTo>
                      <a:pt x="165" y="40"/>
                    </a:lnTo>
                    <a:lnTo>
                      <a:pt x="165" y="40"/>
                    </a:lnTo>
                    <a:lnTo>
                      <a:pt x="165" y="41"/>
                    </a:lnTo>
                    <a:lnTo>
                      <a:pt x="165" y="41"/>
                    </a:lnTo>
                    <a:lnTo>
                      <a:pt x="164" y="41"/>
                    </a:lnTo>
                    <a:lnTo>
                      <a:pt x="164" y="42"/>
                    </a:lnTo>
                    <a:lnTo>
                      <a:pt x="164" y="42"/>
                    </a:lnTo>
                    <a:lnTo>
                      <a:pt x="164" y="42"/>
                    </a:lnTo>
                    <a:lnTo>
                      <a:pt x="164" y="43"/>
                    </a:lnTo>
                    <a:lnTo>
                      <a:pt x="164" y="43"/>
                    </a:lnTo>
                    <a:lnTo>
                      <a:pt x="164" y="44"/>
                    </a:lnTo>
                    <a:lnTo>
                      <a:pt x="164" y="44"/>
                    </a:lnTo>
                    <a:lnTo>
                      <a:pt x="164" y="44"/>
                    </a:lnTo>
                    <a:lnTo>
                      <a:pt x="164" y="45"/>
                    </a:lnTo>
                    <a:lnTo>
                      <a:pt x="165" y="45"/>
                    </a:lnTo>
                    <a:lnTo>
                      <a:pt x="165" y="45"/>
                    </a:lnTo>
                    <a:lnTo>
                      <a:pt x="165" y="45"/>
                    </a:lnTo>
                    <a:lnTo>
                      <a:pt x="166" y="45"/>
                    </a:lnTo>
                    <a:lnTo>
                      <a:pt x="166" y="45"/>
                    </a:lnTo>
                    <a:lnTo>
                      <a:pt x="166" y="46"/>
                    </a:lnTo>
                    <a:lnTo>
                      <a:pt x="166" y="46"/>
                    </a:lnTo>
                    <a:lnTo>
                      <a:pt x="166" y="47"/>
                    </a:lnTo>
                    <a:lnTo>
                      <a:pt x="166" y="47"/>
                    </a:lnTo>
                    <a:lnTo>
                      <a:pt x="166" y="47"/>
                    </a:lnTo>
                    <a:lnTo>
                      <a:pt x="166" y="48"/>
                    </a:lnTo>
                    <a:lnTo>
                      <a:pt x="166" y="48"/>
                    </a:lnTo>
                    <a:lnTo>
                      <a:pt x="166" y="48"/>
                    </a:lnTo>
                    <a:lnTo>
                      <a:pt x="167" y="48"/>
                    </a:lnTo>
                    <a:lnTo>
                      <a:pt x="167" y="48"/>
                    </a:lnTo>
                    <a:lnTo>
                      <a:pt x="167" y="49"/>
                    </a:lnTo>
                    <a:lnTo>
                      <a:pt x="168" y="49"/>
                    </a:lnTo>
                    <a:lnTo>
                      <a:pt x="168" y="49"/>
                    </a:lnTo>
                    <a:lnTo>
                      <a:pt x="168" y="49"/>
                    </a:lnTo>
                    <a:lnTo>
                      <a:pt x="168" y="50"/>
                    </a:lnTo>
                    <a:lnTo>
                      <a:pt x="168" y="50"/>
                    </a:lnTo>
                    <a:lnTo>
                      <a:pt x="168" y="50"/>
                    </a:lnTo>
                    <a:lnTo>
                      <a:pt x="167" y="50"/>
                    </a:lnTo>
                    <a:lnTo>
                      <a:pt x="167" y="51"/>
                    </a:lnTo>
                    <a:lnTo>
                      <a:pt x="167" y="51"/>
                    </a:lnTo>
                    <a:lnTo>
                      <a:pt x="167" y="52"/>
                    </a:lnTo>
                    <a:lnTo>
                      <a:pt x="167" y="52"/>
                    </a:lnTo>
                    <a:lnTo>
                      <a:pt x="167" y="53"/>
                    </a:lnTo>
                    <a:lnTo>
                      <a:pt x="167" y="54"/>
                    </a:lnTo>
                    <a:lnTo>
                      <a:pt x="167" y="55"/>
                    </a:lnTo>
                    <a:lnTo>
                      <a:pt x="168" y="55"/>
                    </a:lnTo>
                    <a:lnTo>
                      <a:pt x="168" y="56"/>
                    </a:lnTo>
                    <a:lnTo>
                      <a:pt x="168" y="57"/>
                    </a:lnTo>
                    <a:lnTo>
                      <a:pt x="168" y="58"/>
                    </a:lnTo>
                    <a:lnTo>
                      <a:pt x="168" y="59"/>
                    </a:lnTo>
                    <a:lnTo>
                      <a:pt x="168" y="60"/>
                    </a:lnTo>
                    <a:lnTo>
                      <a:pt x="168" y="61"/>
                    </a:lnTo>
                    <a:lnTo>
                      <a:pt x="168" y="62"/>
                    </a:lnTo>
                    <a:lnTo>
                      <a:pt x="166" y="65"/>
                    </a:lnTo>
                    <a:lnTo>
                      <a:pt x="164" y="67"/>
                    </a:lnTo>
                    <a:lnTo>
                      <a:pt x="164" y="68"/>
                    </a:lnTo>
                    <a:lnTo>
                      <a:pt x="163" y="70"/>
                    </a:lnTo>
                    <a:lnTo>
                      <a:pt x="162" y="71"/>
                    </a:lnTo>
                    <a:lnTo>
                      <a:pt x="161" y="72"/>
                    </a:lnTo>
                    <a:lnTo>
                      <a:pt x="158" y="72"/>
                    </a:lnTo>
                    <a:lnTo>
                      <a:pt x="155" y="72"/>
                    </a:lnTo>
                    <a:lnTo>
                      <a:pt x="152" y="72"/>
                    </a:lnTo>
                    <a:lnTo>
                      <a:pt x="149" y="72"/>
                    </a:lnTo>
                    <a:lnTo>
                      <a:pt x="149" y="73"/>
                    </a:lnTo>
                    <a:lnTo>
                      <a:pt x="149" y="73"/>
                    </a:lnTo>
                    <a:lnTo>
                      <a:pt x="148" y="74"/>
                    </a:lnTo>
                    <a:lnTo>
                      <a:pt x="148" y="75"/>
                    </a:lnTo>
                    <a:lnTo>
                      <a:pt x="147" y="76"/>
                    </a:lnTo>
                    <a:lnTo>
                      <a:pt x="146" y="77"/>
                    </a:lnTo>
                    <a:lnTo>
                      <a:pt x="145" y="79"/>
                    </a:lnTo>
                    <a:lnTo>
                      <a:pt x="144" y="79"/>
                    </a:lnTo>
                    <a:lnTo>
                      <a:pt x="144" y="80"/>
                    </a:lnTo>
                    <a:lnTo>
                      <a:pt x="144" y="81"/>
                    </a:lnTo>
                    <a:lnTo>
                      <a:pt x="143" y="82"/>
                    </a:lnTo>
                    <a:lnTo>
                      <a:pt x="143" y="83"/>
                    </a:lnTo>
                    <a:lnTo>
                      <a:pt x="143" y="83"/>
                    </a:lnTo>
                    <a:lnTo>
                      <a:pt x="142" y="84"/>
                    </a:lnTo>
                    <a:lnTo>
                      <a:pt x="141" y="84"/>
                    </a:lnTo>
                    <a:lnTo>
                      <a:pt x="140" y="84"/>
                    </a:lnTo>
                    <a:lnTo>
                      <a:pt x="139" y="84"/>
                    </a:lnTo>
                    <a:lnTo>
                      <a:pt x="138" y="84"/>
                    </a:lnTo>
                    <a:lnTo>
                      <a:pt x="138" y="83"/>
                    </a:lnTo>
                    <a:lnTo>
                      <a:pt x="136" y="83"/>
                    </a:lnTo>
                    <a:lnTo>
                      <a:pt x="135" y="83"/>
                    </a:lnTo>
                    <a:lnTo>
                      <a:pt x="134" y="82"/>
                    </a:lnTo>
                    <a:lnTo>
                      <a:pt x="132" y="82"/>
                    </a:lnTo>
                    <a:lnTo>
                      <a:pt x="131" y="82"/>
                    </a:lnTo>
                    <a:lnTo>
                      <a:pt x="130" y="82"/>
                    </a:lnTo>
                    <a:lnTo>
                      <a:pt x="130" y="83"/>
                    </a:lnTo>
                    <a:lnTo>
                      <a:pt x="129" y="83"/>
                    </a:lnTo>
                    <a:lnTo>
                      <a:pt x="129" y="84"/>
                    </a:lnTo>
                    <a:lnTo>
                      <a:pt x="128" y="84"/>
                    </a:lnTo>
                    <a:lnTo>
                      <a:pt x="128" y="85"/>
                    </a:lnTo>
                    <a:lnTo>
                      <a:pt x="128" y="86"/>
                    </a:lnTo>
                    <a:lnTo>
                      <a:pt x="128" y="87"/>
                    </a:lnTo>
                    <a:lnTo>
                      <a:pt x="127" y="87"/>
                    </a:lnTo>
                    <a:lnTo>
                      <a:pt x="127" y="87"/>
                    </a:lnTo>
                    <a:lnTo>
                      <a:pt x="127" y="87"/>
                    </a:lnTo>
                    <a:lnTo>
                      <a:pt x="126" y="87"/>
                    </a:lnTo>
                    <a:lnTo>
                      <a:pt x="126" y="88"/>
                    </a:lnTo>
                    <a:lnTo>
                      <a:pt x="126" y="88"/>
                    </a:lnTo>
                    <a:lnTo>
                      <a:pt x="126" y="88"/>
                    </a:lnTo>
                    <a:lnTo>
                      <a:pt x="126" y="89"/>
                    </a:lnTo>
                    <a:lnTo>
                      <a:pt x="125" y="91"/>
                    </a:lnTo>
                    <a:lnTo>
                      <a:pt x="123" y="93"/>
                    </a:lnTo>
                    <a:lnTo>
                      <a:pt x="121" y="95"/>
                    </a:lnTo>
                    <a:lnTo>
                      <a:pt x="119" y="97"/>
                    </a:lnTo>
                    <a:lnTo>
                      <a:pt x="119" y="97"/>
                    </a:lnTo>
                    <a:lnTo>
                      <a:pt x="119" y="97"/>
                    </a:lnTo>
                    <a:lnTo>
                      <a:pt x="118" y="97"/>
                    </a:lnTo>
                    <a:lnTo>
                      <a:pt x="118" y="97"/>
                    </a:lnTo>
                    <a:lnTo>
                      <a:pt x="117" y="96"/>
                    </a:lnTo>
                    <a:lnTo>
                      <a:pt x="116" y="96"/>
                    </a:lnTo>
                    <a:lnTo>
                      <a:pt x="115" y="95"/>
                    </a:lnTo>
                    <a:lnTo>
                      <a:pt x="115" y="94"/>
                    </a:lnTo>
                    <a:lnTo>
                      <a:pt x="113" y="93"/>
                    </a:lnTo>
                    <a:lnTo>
                      <a:pt x="112" y="92"/>
                    </a:lnTo>
                    <a:lnTo>
                      <a:pt x="111" y="90"/>
                    </a:lnTo>
                    <a:lnTo>
                      <a:pt x="109" y="89"/>
                    </a:lnTo>
                    <a:lnTo>
                      <a:pt x="109" y="88"/>
                    </a:lnTo>
                    <a:lnTo>
                      <a:pt x="108" y="88"/>
                    </a:lnTo>
                    <a:lnTo>
                      <a:pt x="107" y="87"/>
                    </a:lnTo>
                    <a:lnTo>
                      <a:pt x="106" y="87"/>
                    </a:lnTo>
                    <a:lnTo>
                      <a:pt x="106" y="86"/>
                    </a:lnTo>
                    <a:lnTo>
                      <a:pt x="106" y="86"/>
                    </a:lnTo>
                    <a:lnTo>
                      <a:pt x="106" y="86"/>
                    </a:lnTo>
                    <a:lnTo>
                      <a:pt x="106" y="85"/>
                    </a:lnTo>
                    <a:lnTo>
                      <a:pt x="105" y="85"/>
                    </a:lnTo>
                    <a:lnTo>
                      <a:pt x="105" y="85"/>
                    </a:lnTo>
                    <a:lnTo>
                      <a:pt x="105" y="85"/>
                    </a:lnTo>
                    <a:lnTo>
                      <a:pt x="104" y="85"/>
                    </a:lnTo>
                    <a:lnTo>
                      <a:pt x="103" y="85"/>
                    </a:lnTo>
                    <a:lnTo>
                      <a:pt x="101" y="85"/>
                    </a:lnTo>
                    <a:lnTo>
                      <a:pt x="100" y="85"/>
                    </a:lnTo>
                    <a:lnTo>
                      <a:pt x="98" y="85"/>
                    </a:lnTo>
                    <a:lnTo>
                      <a:pt x="97" y="85"/>
                    </a:lnTo>
                    <a:lnTo>
                      <a:pt x="96" y="85"/>
                    </a:lnTo>
                    <a:lnTo>
                      <a:pt x="94" y="85"/>
                    </a:lnTo>
                    <a:lnTo>
                      <a:pt x="93" y="86"/>
                    </a:lnTo>
                    <a:lnTo>
                      <a:pt x="92" y="86"/>
                    </a:lnTo>
                    <a:lnTo>
                      <a:pt x="91" y="86"/>
                    </a:lnTo>
                    <a:lnTo>
                      <a:pt x="90" y="87"/>
                    </a:lnTo>
                    <a:lnTo>
                      <a:pt x="89" y="88"/>
                    </a:lnTo>
                    <a:lnTo>
                      <a:pt x="88" y="88"/>
                    </a:lnTo>
                    <a:lnTo>
                      <a:pt x="88" y="89"/>
                    </a:lnTo>
                    <a:lnTo>
                      <a:pt x="87" y="89"/>
                    </a:lnTo>
                    <a:lnTo>
                      <a:pt x="86" y="90"/>
                    </a:lnTo>
                    <a:lnTo>
                      <a:pt x="83" y="90"/>
                    </a:lnTo>
                    <a:lnTo>
                      <a:pt x="80" y="90"/>
                    </a:lnTo>
                    <a:lnTo>
                      <a:pt x="77" y="90"/>
                    </a:lnTo>
                    <a:lnTo>
                      <a:pt x="74" y="90"/>
                    </a:lnTo>
                    <a:lnTo>
                      <a:pt x="73" y="90"/>
                    </a:lnTo>
                    <a:lnTo>
                      <a:pt x="72" y="91"/>
                    </a:lnTo>
                    <a:lnTo>
                      <a:pt x="72" y="91"/>
                    </a:lnTo>
                    <a:lnTo>
                      <a:pt x="71" y="91"/>
                    </a:lnTo>
                    <a:lnTo>
                      <a:pt x="70" y="92"/>
                    </a:lnTo>
                    <a:lnTo>
                      <a:pt x="70" y="92"/>
                    </a:lnTo>
                    <a:lnTo>
                      <a:pt x="68" y="93"/>
                    </a:lnTo>
                    <a:lnTo>
                      <a:pt x="67" y="94"/>
                    </a:lnTo>
                    <a:lnTo>
                      <a:pt x="67" y="95"/>
                    </a:lnTo>
                    <a:lnTo>
                      <a:pt x="66" y="95"/>
                    </a:lnTo>
                    <a:lnTo>
                      <a:pt x="65" y="96"/>
                    </a:lnTo>
                    <a:lnTo>
                      <a:pt x="65" y="96"/>
                    </a:lnTo>
                    <a:lnTo>
                      <a:pt x="64" y="97"/>
                    </a:lnTo>
                    <a:lnTo>
                      <a:pt x="63" y="97"/>
                    </a:lnTo>
                    <a:lnTo>
                      <a:pt x="61" y="97"/>
                    </a:lnTo>
                    <a:lnTo>
                      <a:pt x="60" y="97"/>
                    </a:lnTo>
                    <a:lnTo>
                      <a:pt x="59" y="97"/>
                    </a:lnTo>
                    <a:lnTo>
                      <a:pt x="57" y="97"/>
                    </a:lnTo>
                    <a:lnTo>
                      <a:pt x="56" y="96"/>
                    </a:lnTo>
                    <a:lnTo>
                      <a:pt x="55" y="96"/>
                    </a:lnTo>
                    <a:lnTo>
                      <a:pt x="54" y="96"/>
                    </a:lnTo>
                    <a:lnTo>
                      <a:pt x="53" y="96"/>
                    </a:lnTo>
                    <a:lnTo>
                      <a:pt x="50" y="95"/>
                    </a:lnTo>
                    <a:lnTo>
                      <a:pt x="49" y="94"/>
                    </a:lnTo>
                    <a:lnTo>
                      <a:pt x="47" y="93"/>
                    </a:lnTo>
                    <a:lnTo>
                      <a:pt x="45" y="92"/>
                    </a:lnTo>
                    <a:lnTo>
                      <a:pt x="43" y="91"/>
                    </a:lnTo>
                    <a:lnTo>
                      <a:pt x="41" y="91"/>
                    </a:lnTo>
                    <a:lnTo>
                      <a:pt x="39" y="90"/>
                    </a:lnTo>
                    <a:lnTo>
                      <a:pt x="37" y="89"/>
                    </a:lnTo>
                    <a:lnTo>
                      <a:pt x="36" y="89"/>
                    </a:lnTo>
                    <a:lnTo>
                      <a:pt x="34" y="89"/>
                    </a:lnTo>
                    <a:lnTo>
                      <a:pt x="33" y="88"/>
                    </a:lnTo>
                    <a:lnTo>
                      <a:pt x="32" y="88"/>
                    </a:lnTo>
                    <a:lnTo>
                      <a:pt x="31" y="88"/>
                    </a:lnTo>
                    <a:lnTo>
                      <a:pt x="29" y="88"/>
                    </a:lnTo>
                    <a:lnTo>
                      <a:pt x="28" y="88"/>
                    </a:lnTo>
                    <a:lnTo>
                      <a:pt x="26" y="89"/>
                    </a:lnTo>
                    <a:lnTo>
                      <a:pt x="26" y="88"/>
                    </a:lnTo>
                    <a:lnTo>
                      <a:pt x="26" y="87"/>
                    </a:lnTo>
                    <a:lnTo>
                      <a:pt x="26" y="87"/>
                    </a:lnTo>
                    <a:lnTo>
                      <a:pt x="25" y="87"/>
                    </a:lnTo>
                    <a:lnTo>
                      <a:pt x="25" y="87"/>
                    </a:lnTo>
                    <a:lnTo>
                      <a:pt x="24" y="86"/>
                    </a:lnTo>
                    <a:lnTo>
                      <a:pt x="24" y="86"/>
                    </a:lnTo>
                    <a:lnTo>
                      <a:pt x="23" y="86"/>
                    </a:lnTo>
                    <a:lnTo>
                      <a:pt x="22" y="87"/>
                    </a:lnTo>
                    <a:lnTo>
                      <a:pt x="20" y="87"/>
                    </a:lnTo>
                    <a:lnTo>
                      <a:pt x="19" y="87"/>
                    </a:lnTo>
                    <a:lnTo>
                      <a:pt x="19" y="87"/>
                    </a:lnTo>
                    <a:lnTo>
                      <a:pt x="18" y="87"/>
                    </a:lnTo>
                    <a:lnTo>
                      <a:pt x="18" y="87"/>
                    </a:lnTo>
                    <a:lnTo>
                      <a:pt x="8" y="87"/>
                    </a:lnTo>
                    <a:lnTo>
                      <a:pt x="8" y="86"/>
                    </a:lnTo>
                    <a:lnTo>
                      <a:pt x="8" y="85"/>
                    </a:lnTo>
                    <a:lnTo>
                      <a:pt x="8" y="84"/>
                    </a:lnTo>
                    <a:lnTo>
                      <a:pt x="8" y="83"/>
                    </a:lnTo>
                    <a:lnTo>
                      <a:pt x="7" y="83"/>
                    </a:lnTo>
                    <a:lnTo>
                      <a:pt x="7" y="82"/>
                    </a:lnTo>
                    <a:lnTo>
                      <a:pt x="6" y="81"/>
                    </a:lnTo>
                    <a:lnTo>
                      <a:pt x="6" y="80"/>
                    </a:lnTo>
                    <a:lnTo>
                      <a:pt x="5" y="80"/>
                    </a:lnTo>
                    <a:lnTo>
                      <a:pt x="5" y="79"/>
                    </a:lnTo>
                    <a:lnTo>
                      <a:pt x="4" y="79"/>
                    </a:lnTo>
                    <a:lnTo>
                      <a:pt x="3" y="79"/>
                    </a:lnTo>
                    <a:lnTo>
                      <a:pt x="2" y="78"/>
                    </a:lnTo>
                    <a:lnTo>
                      <a:pt x="2" y="78"/>
                    </a:lnTo>
                    <a:lnTo>
                      <a:pt x="1" y="78"/>
                    </a:lnTo>
                    <a:lnTo>
                      <a:pt x="1" y="77"/>
                    </a:lnTo>
                    <a:lnTo>
                      <a:pt x="1" y="77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5"/>
                    </a:lnTo>
                    <a:lnTo>
                      <a:pt x="0" y="75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73"/>
                    </a:lnTo>
                    <a:lnTo>
                      <a:pt x="1" y="73"/>
                    </a:lnTo>
                    <a:lnTo>
                      <a:pt x="1" y="72"/>
                    </a:lnTo>
                    <a:lnTo>
                      <a:pt x="1" y="72"/>
                    </a:lnTo>
                    <a:lnTo>
                      <a:pt x="1" y="71"/>
                    </a:lnTo>
                    <a:lnTo>
                      <a:pt x="1" y="71"/>
                    </a:lnTo>
                    <a:lnTo>
                      <a:pt x="2" y="70"/>
                    </a:lnTo>
                    <a:lnTo>
                      <a:pt x="2" y="70"/>
                    </a:lnTo>
                    <a:lnTo>
                      <a:pt x="2" y="69"/>
                    </a:lnTo>
                    <a:lnTo>
                      <a:pt x="3" y="69"/>
                    </a:lnTo>
                    <a:lnTo>
                      <a:pt x="3" y="69"/>
                    </a:lnTo>
                    <a:lnTo>
                      <a:pt x="3" y="69"/>
                    </a:lnTo>
                    <a:lnTo>
                      <a:pt x="4" y="69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7"/>
                    </a:lnTo>
                    <a:lnTo>
                      <a:pt x="4" y="67"/>
                    </a:lnTo>
                    <a:lnTo>
                      <a:pt x="5" y="66"/>
                    </a:lnTo>
                    <a:lnTo>
                      <a:pt x="5" y="66"/>
                    </a:lnTo>
                    <a:lnTo>
                      <a:pt x="5" y="65"/>
                    </a:lnTo>
                    <a:lnTo>
                      <a:pt x="6" y="65"/>
                    </a:lnTo>
                    <a:lnTo>
                      <a:pt x="6" y="64"/>
                    </a:lnTo>
                    <a:lnTo>
                      <a:pt x="7" y="64"/>
                    </a:lnTo>
                    <a:lnTo>
                      <a:pt x="7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9" y="64"/>
                    </a:lnTo>
                    <a:lnTo>
                      <a:pt x="10" y="64"/>
                    </a:lnTo>
                    <a:lnTo>
                      <a:pt x="10" y="63"/>
                    </a:lnTo>
                    <a:lnTo>
                      <a:pt x="11" y="63"/>
                    </a:lnTo>
                    <a:lnTo>
                      <a:pt x="11" y="63"/>
                    </a:lnTo>
                    <a:lnTo>
                      <a:pt x="11" y="62"/>
                    </a:lnTo>
                    <a:lnTo>
                      <a:pt x="11" y="62"/>
                    </a:lnTo>
                    <a:lnTo>
                      <a:pt x="12" y="62"/>
                    </a:lnTo>
                    <a:lnTo>
                      <a:pt x="12" y="61"/>
                    </a:lnTo>
                    <a:lnTo>
                      <a:pt x="13" y="61"/>
                    </a:lnTo>
                    <a:lnTo>
                      <a:pt x="13" y="61"/>
                    </a:lnTo>
                    <a:lnTo>
                      <a:pt x="14" y="60"/>
                    </a:lnTo>
                    <a:lnTo>
                      <a:pt x="14" y="60"/>
                    </a:lnTo>
                    <a:lnTo>
                      <a:pt x="14" y="59"/>
                    </a:lnTo>
                    <a:lnTo>
                      <a:pt x="14" y="59"/>
                    </a:lnTo>
                    <a:lnTo>
                      <a:pt x="15" y="58"/>
                    </a:lnTo>
                    <a:lnTo>
                      <a:pt x="15" y="58"/>
                    </a:lnTo>
                    <a:lnTo>
                      <a:pt x="16" y="58"/>
                    </a:lnTo>
                    <a:lnTo>
                      <a:pt x="16" y="57"/>
                    </a:lnTo>
                    <a:lnTo>
                      <a:pt x="16" y="57"/>
                    </a:lnTo>
                    <a:lnTo>
                      <a:pt x="16" y="57"/>
                    </a:lnTo>
                    <a:lnTo>
                      <a:pt x="16" y="57"/>
                    </a:lnTo>
                    <a:lnTo>
                      <a:pt x="16" y="56"/>
                    </a:lnTo>
                    <a:lnTo>
                      <a:pt x="17" y="55"/>
                    </a:lnTo>
                    <a:lnTo>
                      <a:pt x="16" y="55"/>
                    </a:lnTo>
                    <a:lnTo>
                      <a:pt x="16" y="54"/>
                    </a:lnTo>
                    <a:lnTo>
                      <a:pt x="16" y="53"/>
                    </a:lnTo>
                    <a:lnTo>
                      <a:pt x="16" y="53"/>
                    </a:lnTo>
                    <a:lnTo>
                      <a:pt x="15" y="52"/>
                    </a:lnTo>
                    <a:lnTo>
                      <a:pt x="15" y="51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3" y="49"/>
                    </a:lnTo>
                    <a:lnTo>
                      <a:pt x="13" y="49"/>
                    </a:lnTo>
                    <a:lnTo>
                      <a:pt x="13" y="49"/>
                    </a:lnTo>
                    <a:lnTo>
                      <a:pt x="13" y="48"/>
                    </a:lnTo>
                    <a:lnTo>
                      <a:pt x="13" y="48"/>
                    </a:lnTo>
                    <a:lnTo>
                      <a:pt x="13" y="47"/>
                    </a:lnTo>
                    <a:lnTo>
                      <a:pt x="13" y="47"/>
                    </a:lnTo>
                    <a:lnTo>
                      <a:pt x="13" y="47"/>
                    </a:lnTo>
                    <a:lnTo>
                      <a:pt x="13" y="47"/>
                    </a:lnTo>
                    <a:lnTo>
                      <a:pt x="14" y="47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5"/>
                    </a:lnTo>
                    <a:lnTo>
                      <a:pt x="14" y="45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3"/>
                    </a:lnTo>
                    <a:lnTo>
                      <a:pt x="14" y="43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5" y="42"/>
                    </a:lnTo>
                    <a:lnTo>
                      <a:pt x="15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1"/>
                    </a:lnTo>
                    <a:lnTo>
                      <a:pt x="16" y="41"/>
                    </a:lnTo>
                    <a:lnTo>
                      <a:pt x="16" y="41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39"/>
                    </a:lnTo>
                    <a:lnTo>
                      <a:pt x="16" y="39"/>
                    </a:lnTo>
                    <a:lnTo>
                      <a:pt x="16" y="38"/>
                    </a:lnTo>
                    <a:lnTo>
                      <a:pt x="17" y="38"/>
                    </a:lnTo>
                    <a:lnTo>
                      <a:pt x="17" y="37"/>
                    </a:lnTo>
                    <a:lnTo>
                      <a:pt x="17" y="37"/>
                    </a:lnTo>
                    <a:lnTo>
                      <a:pt x="17" y="37"/>
                    </a:lnTo>
                    <a:lnTo>
                      <a:pt x="18" y="37"/>
                    </a:lnTo>
                    <a:lnTo>
                      <a:pt x="19" y="37"/>
                    </a:lnTo>
                    <a:lnTo>
                      <a:pt x="20" y="37"/>
                    </a:lnTo>
                    <a:lnTo>
                      <a:pt x="20" y="37"/>
                    </a:lnTo>
                    <a:lnTo>
                      <a:pt x="21" y="37"/>
                    </a:lnTo>
                    <a:lnTo>
                      <a:pt x="22" y="37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3" y="35"/>
                    </a:lnTo>
                    <a:lnTo>
                      <a:pt x="23" y="35"/>
                    </a:lnTo>
                    <a:lnTo>
                      <a:pt x="24" y="35"/>
                    </a:lnTo>
                    <a:lnTo>
                      <a:pt x="24" y="35"/>
                    </a:lnTo>
                    <a:lnTo>
                      <a:pt x="24" y="35"/>
                    </a:lnTo>
                    <a:lnTo>
                      <a:pt x="25" y="35"/>
                    </a:lnTo>
                    <a:lnTo>
                      <a:pt x="26" y="35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7" y="34"/>
                    </a:lnTo>
                    <a:lnTo>
                      <a:pt x="27" y="33"/>
                    </a:lnTo>
                    <a:lnTo>
                      <a:pt x="27" y="33"/>
                    </a:lnTo>
                    <a:lnTo>
                      <a:pt x="28" y="32"/>
                    </a:lnTo>
                    <a:lnTo>
                      <a:pt x="28" y="30"/>
                    </a:lnTo>
                    <a:lnTo>
                      <a:pt x="28" y="29"/>
                    </a:lnTo>
                    <a:lnTo>
                      <a:pt x="28" y="28"/>
                    </a:lnTo>
                    <a:lnTo>
                      <a:pt x="28" y="27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5"/>
                    </a:lnTo>
                    <a:lnTo>
                      <a:pt x="29" y="25"/>
                    </a:lnTo>
                    <a:lnTo>
                      <a:pt x="29" y="24"/>
                    </a:lnTo>
                    <a:lnTo>
                      <a:pt x="29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1" y="24"/>
                    </a:lnTo>
                    <a:lnTo>
                      <a:pt x="32" y="24"/>
                    </a:lnTo>
                    <a:lnTo>
                      <a:pt x="33" y="24"/>
                    </a:lnTo>
                    <a:lnTo>
                      <a:pt x="33" y="24"/>
                    </a:lnTo>
                    <a:lnTo>
                      <a:pt x="34" y="24"/>
                    </a:lnTo>
                    <a:lnTo>
                      <a:pt x="35" y="25"/>
                    </a:lnTo>
                    <a:lnTo>
                      <a:pt x="36" y="25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28"/>
                    </a:lnTo>
                    <a:lnTo>
                      <a:pt x="36" y="28"/>
                    </a:lnTo>
                    <a:lnTo>
                      <a:pt x="36" y="28"/>
                    </a:lnTo>
                    <a:lnTo>
                      <a:pt x="37" y="28"/>
                    </a:lnTo>
                    <a:lnTo>
                      <a:pt x="37" y="29"/>
                    </a:lnTo>
                    <a:lnTo>
                      <a:pt x="37" y="29"/>
                    </a:lnTo>
                    <a:lnTo>
                      <a:pt x="38" y="29"/>
                    </a:lnTo>
                    <a:lnTo>
                      <a:pt x="38" y="29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1"/>
                    </a:lnTo>
                    <a:lnTo>
                      <a:pt x="38" y="31"/>
                    </a:lnTo>
                    <a:lnTo>
                      <a:pt x="38" y="31"/>
                    </a:lnTo>
                    <a:lnTo>
                      <a:pt x="38" y="32"/>
                    </a:lnTo>
                    <a:lnTo>
                      <a:pt x="38" y="32"/>
                    </a:lnTo>
                    <a:lnTo>
                      <a:pt x="39" y="32"/>
                    </a:lnTo>
                    <a:lnTo>
                      <a:pt x="39" y="32"/>
                    </a:lnTo>
                    <a:lnTo>
                      <a:pt x="39" y="32"/>
                    </a:lnTo>
                    <a:lnTo>
                      <a:pt x="39" y="34"/>
                    </a:lnTo>
                    <a:lnTo>
                      <a:pt x="39" y="35"/>
                    </a:lnTo>
                    <a:lnTo>
                      <a:pt x="39" y="37"/>
                    </a:lnTo>
                    <a:lnTo>
                      <a:pt x="39" y="39"/>
                    </a:lnTo>
                    <a:lnTo>
                      <a:pt x="39" y="39"/>
                    </a:lnTo>
                    <a:lnTo>
                      <a:pt x="39" y="39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1" y="40"/>
                    </a:lnTo>
                    <a:lnTo>
                      <a:pt x="41" y="40"/>
                    </a:lnTo>
                    <a:lnTo>
                      <a:pt x="41" y="41"/>
                    </a:lnTo>
                    <a:lnTo>
                      <a:pt x="41" y="41"/>
                    </a:lnTo>
                    <a:lnTo>
                      <a:pt x="41" y="42"/>
                    </a:lnTo>
                    <a:lnTo>
                      <a:pt x="41" y="42"/>
                    </a:lnTo>
                    <a:lnTo>
                      <a:pt x="41" y="43"/>
                    </a:lnTo>
                    <a:lnTo>
                      <a:pt x="41" y="43"/>
                    </a:lnTo>
                    <a:lnTo>
                      <a:pt x="41" y="43"/>
                    </a:lnTo>
                    <a:lnTo>
                      <a:pt x="42" y="44"/>
                    </a:lnTo>
                    <a:lnTo>
                      <a:pt x="42" y="44"/>
                    </a:lnTo>
                    <a:lnTo>
                      <a:pt x="43" y="45"/>
                    </a:lnTo>
                    <a:lnTo>
                      <a:pt x="43" y="45"/>
                    </a:lnTo>
                    <a:lnTo>
                      <a:pt x="43" y="45"/>
                    </a:lnTo>
                    <a:lnTo>
                      <a:pt x="44" y="45"/>
                    </a:lnTo>
                    <a:lnTo>
                      <a:pt x="44" y="45"/>
                    </a:lnTo>
                    <a:lnTo>
                      <a:pt x="45" y="45"/>
                    </a:lnTo>
                    <a:lnTo>
                      <a:pt x="49" y="45"/>
                    </a:lnTo>
                    <a:lnTo>
                      <a:pt x="50" y="45"/>
                    </a:lnTo>
                    <a:lnTo>
                      <a:pt x="51" y="45"/>
                    </a:lnTo>
                    <a:lnTo>
                      <a:pt x="52" y="45"/>
                    </a:lnTo>
                    <a:lnTo>
                      <a:pt x="53" y="45"/>
                    </a:lnTo>
                    <a:lnTo>
                      <a:pt x="53" y="45"/>
                    </a:lnTo>
                    <a:lnTo>
                      <a:pt x="54" y="45"/>
                    </a:lnTo>
                    <a:lnTo>
                      <a:pt x="54" y="45"/>
                    </a:lnTo>
                    <a:lnTo>
                      <a:pt x="54" y="44"/>
                    </a:lnTo>
                    <a:lnTo>
                      <a:pt x="54" y="44"/>
                    </a:lnTo>
                    <a:lnTo>
                      <a:pt x="55" y="44"/>
                    </a:lnTo>
                    <a:lnTo>
                      <a:pt x="55" y="44"/>
                    </a:lnTo>
                    <a:lnTo>
                      <a:pt x="56" y="44"/>
                    </a:lnTo>
                    <a:lnTo>
                      <a:pt x="57" y="44"/>
                    </a:lnTo>
                    <a:lnTo>
                      <a:pt x="58" y="44"/>
                    </a:lnTo>
                    <a:lnTo>
                      <a:pt x="58" y="44"/>
                    </a:lnTo>
                    <a:lnTo>
                      <a:pt x="58" y="44"/>
                    </a:lnTo>
                    <a:lnTo>
                      <a:pt x="58" y="44"/>
                    </a:lnTo>
                    <a:lnTo>
                      <a:pt x="58" y="44"/>
                    </a:lnTo>
                    <a:lnTo>
                      <a:pt x="58" y="45"/>
                    </a:lnTo>
                    <a:lnTo>
                      <a:pt x="58" y="45"/>
                    </a:lnTo>
                    <a:lnTo>
                      <a:pt x="59" y="45"/>
                    </a:lnTo>
                    <a:lnTo>
                      <a:pt x="59" y="44"/>
                    </a:lnTo>
                    <a:lnTo>
                      <a:pt x="59" y="44"/>
                    </a:lnTo>
                    <a:lnTo>
                      <a:pt x="59" y="44"/>
                    </a:lnTo>
                    <a:lnTo>
                      <a:pt x="59" y="44"/>
                    </a:lnTo>
                    <a:lnTo>
                      <a:pt x="60" y="43"/>
                    </a:lnTo>
                    <a:lnTo>
                      <a:pt x="59" y="43"/>
                    </a:lnTo>
                    <a:lnTo>
                      <a:pt x="59" y="43"/>
                    </a:lnTo>
                    <a:lnTo>
                      <a:pt x="59" y="42"/>
                    </a:lnTo>
                    <a:lnTo>
                      <a:pt x="59" y="42"/>
                    </a:lnTo>
                    <a:lnTo>
                      <a:pt x="58" y="42"/>
                    </a:lnTo>
                    <a:lnTo>
                      <a:pt x="58" y="42"/>
                    </a:lnTo>
                    <a:lnTo>
                      <a:pt x="58" y="42"/>
                    </a:lnTo>
                    <a:lnTo>
                      <a:pt x="58" y="42"/>
                    </a:lnTo>
                    <a:lnTo>
                      <a:pt x="58" y="41"/>
                    </a:lnTo>
                    <a:lnTo>
                      <a:pt x="58" y="41"/>
                    </a:lnTo>
                    <a:lnTo>
                      <a:pt x="58" y="40"/>
                    </a:lnTo>
                    <a:lnTo>
                      <a:pt x="58" y="40"/>
                    </a:lnTo>
                    <a:lnTo>
                      <a:pt x="58" y="40"/>
                    </a:lnTo>
                    <a:lnTo>
                      <a:pt x="59" y="40"/>
                    </a:lnTo>
                    <a:lnTo>
                      <a:pt x="59" y="39"/>
                    </a:lnTo>
                    <a:lnTo>
                      <a:pt x="59" y="39"/>
                    </a:lnTo>
                    <a:lnTo>
                      <a:pt x="59" y="39"/>
                    </a:lnTo>
                    <a:lnTo>
                      <a:pt x="59" y="39"/>
                    </a:lnTo>
                    <a:lnTo>
                      <a:pt x="59" y="38"/>
                    </a:lnTo>
                    <a:lnTo>
                      <a:pt x="59" y="38"/>
                    </a:lnTo>
                    <a:lnTo>
                      <a:pt x="59" y="38"/>
                    </a:lnTo>
                    <a:lnTo>
                      <a:pt x="59" y="37"/>
                    </a:lnTo>
                    <a:lnTo>
                      <a:pt x="59" y="37"/>
                    </a:lnTo>
                    <a:lnTo>
                      <a:pt x="58" y="37"/>
                    </a:lnTo>
                    <a:lnTo>
                      <a:pt x="58" y="37"/>
                    </a:lnTo>
                    <a:lnTo>
                      <a:pt x="58" y="37"/>
                    </a:lnTo>
                    <a:lnTo>
                      <a:pt x="58" y="37"/>
                    </a:lnTo>
                    <a:lnTo>
                      <a:pt x="58" y="36"/>
                    </a:lnTo>
                    <a:lnTo>
                      <a:pt x="58" y="36"/>
                    </a:lnTo>
                    <a:lnTo>
                      <a:pt x="58" y="35"/>
                    </a:lnTo>
                    <a:lnTo>
                      <a:pt x="58" y="35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7" y="34"/>
                    </a:lnTo>
                    <a:lnTo>
                      <a:pt x="57" y="34"/>
                    </a:lnTo>
                    <a:lnTo>
                      <a:pt x="57" y="34"/>
                    </a:lnTo>
                    <a:lnTo>
                      <a:pt x="56" y="34"/>
                    </a:lnTo>
                    <a:lnTo>
                      <a:pt x="56" y="34"/>
                    </a:lnTo>
                    <a:lnTo>
                      <a:pt x="56" y="24"/>
                    </a:lnTo>
                    <a:lnTo>
                      <a:pt x="57" y="24"/>
                    </a:lnTo>
                    <a:lnTo>
                      <a:pt x="58" y="24"/>
                    </a:lnTo>
                    <a:lnTo>
                      <a:pt x="59" y="24"/>
                    </a:lnTo>
                    <a:lnTo>
                      <a:pt x="59" y="24"/>
                    </a:lnTo>
                    <a:lnTo>
                      <a:pt x="60" y="24"/>
                    </a:lnTo>
                    <a:lnTo>
                      <a:pt x="60" y="23"/>
                    </a:lnTo>
                    <a:lnTo>
                      <a:pt x="61" y="23"/>
                    </a:lnTo>
                    <a:lnTo>
                      <a:pt x="61" y="23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3" y="22"/>
                    </a:lnTo>
                    <a:lnTo>
                      <a:pt x="63" y="22"/>
                    </a:lnTo>
                    <a:lnTo>
                      <a:pt x="63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1"/>
                    </a:lnTo>
                    <a:lnTo>
                      <a:pt x="64" y="21"/>
                    </a:lnTo>
                    <a:lnTo>
                      <a:pt x="64" y="21"/>
                    </a:lnTo>
                    <a:lnTo>
                      <a:pt x="64" y="20"/>
                    </a:lnTo>
                    <a:lnTo>
                      <a:pt x="69" y="20"/>
                    </a:lnTo>
                    <a:lnTo>
                      <a:pt x="70" y="20"/>
                    </a:lnTo>
                    <a:lnTo>
                      <a:pt x="70" y="20"/>
                    </a:lnTo>
                    <a:lnTo>
                      <a:pt x="71" y="20"/>
                    </a:lnTo>
                    <a:lnTo>
                      <a:pt x="71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3" y="20"/>
                    </a:lnTo>
                    <a:lnTo>
                      <a:pt x="73" y="20"/>
                    </a:lnTo>
                    <a:lnTo>
                      <a:pt x="73" y="20"/>
                    </a:lnTo>
                    <a:lnTo>
                      <a:pt x="74" y="19"/>
                    </a:lnTo>
                    <a:lnTo>
                      <a:pt x="74" y="19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4" y="17"/>
                    </a:lnTo>
                    <a:lnTo>
                      <a:pt x="74" y="15"/>
                    </a:lnTo>
                    <a:lnTo>
                      <a:pt x="74" y="14"/>
                    </a:lnTo>
                    <a:lnTo>
                      <a:pt x="74" y="14"/>
                    </a:lnTo>
                    <a:lnTo>
                      <a:pt x="75" y="13"/>
                    </a:lnTo>
                    <a:lnTo>
                      <a:pt x="75" y="13"/>
                    </a:lnTo>
                    <a:lnTo>
                      <a:pt x="75" y="12"/>
                    </a:lnTo>
                    <a:lnTo>
                      <a:pt x="76" y="12"/>
                    </a:lnTo>
                    <a:lnTo>
                      <a:pt x="76" y="12"/>
                    </a:lnTo>
                    <a:lnTo>
                      <a:pt x="77" y="12"/>
                    </a:lnTo>
                    <a:lnTo>
                      <a:pt x="78" y="12"/>
                    </a:lnTo>
                    <a:lnTo>
                      <a:pt x="79" y="12"/>
                    </a:lnTo>
                    <a:lnTo>
                      <a:pt x="79" y="12"/>
                    </a:lnTo>
                    <a:lnTo>
                      <a:pt x="80" y="12"/>
                    </a:lnTo>
                    <a:lnTo>
                      <a:pt x="80" y="13"/>
                    </a:lnTo>
                    <a:lnTo>
                      <a:pt x="80" y="13"/>
                    </a:lnTo>
                    <a:lnTo>
                      <a:pt x="80" y="13"/>
                    </a:lnTo>
                    <a:lnTo>
                      <a:pt x="80" y="13"/>
                    </a:lnTo>
                    <a:lnTo>
                      <a:pt x="81" y="13"/>
                    </a:lnTo>
                    <a:lnTo>
                      <a:pt x="81" y="13"/>
                    </a:lnTo>
                    <a:lnTo>
                      <a:pt x="81" y="13"/>
                    </a:lnTo>
                    <a:lnTo>
                      <a:pt x="82" y="13"/>
                    </a:lnTo>
                    <a:lnTo>
                      <a:pt x="82" y="13"/>
                    </a:lnTo>
                    <a:lnTo>
                      <a:pt x="82" y="13"/>
                    </a:lnTo>
                    <a:lnTo>
                      <a:pt x="82" y="13"/>
                    </a:lnTo>
                    <a:lnTo>
                      <a:pt x="83" y="13"/>
                    </a:lnTo>
                    <a:lnTo>
                      <a:pt x="83" y="12"/>
                    </a:lnTo>
                    <a:lnTo>
                      <a:pt x="83" y="12"/>
                    </a:lnTo>
                    <a:lnTo>
                      <a:pt x="83" y="11"/>
                    </a:lnTo>
                    <a:lnTo>
                      <a:pt x="83" y="11"/>
                    </a:lnTo>
                    <a:lnTo>
                      <a:pt x="84" y="11"/>
                    </a:lnTo>
                    <a:lnTo>
                      <a:pt x="85" y="11"/>
                    </a:lnTo>
                    <a:lnTo>
                      <a:pt x="85" y="10"/>
                    </a:lnTo>
                    <a:lnTo>
                      <a:pt x="86" y="10"/>
                    </a:lnTo>
                    <a:lnTo>
                      <a:pt x="88" y="10"/>
                    </a:lnTo>
                    <a:lnTo>
                      <a:pt x="89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1" y="10"/>
                    </a:lnTo>
                    <a:lnTo>
                      <a:pt x="92" y="10"/>
                    </a:lnTo>
                    <a:lnTo>
                      <a:pt x="92" y="10"/>
                    </a:lnTo>
                    <a:lnTo>
                      <a:pt x="93" y="9"/>
                    </a:lnTo>
                    <a:lnTo>
                      <a:pt x="93" y="9"/>
                    </a:lnTo>
                    <a:lnTo>
                      <a:pt x="93" y="9"/>
                    </a:lnTo>
                    <a:lnTo>
                      <a:pt x="94" y="8"/>
                    </a:lnTo>
                    <a:lnTo>
                      <a:pt x="94" y="8"/>
                    </a:lnTo>
                    <a:lnTo>
                      <a:pt x="95" y="7"/>
                    </a:lnTo>
                    <a:lnTo>
                      <a:pt x="96" y="7"/>
                    </a:lnTo>
                    <a:lnTo>
                      <a:pt x="96" y="6"/>
                    </a:lnTo>
                    <a:lnTo>
                      <a:pt x="97" y="5"/>
                    </a:lnTo>
                    <a:lnTo>
                      <a:pt x="97" y="5"/>
                    </a:lnTo>
                    <a:lnTo>
                      <a:pt x="98" y="4"/>
                    </a:lnTo>
                    <a:lnTo>
                      <a:pt x="98" y="4"/>
                    </a:lnTo>
                    <a:lnTo>
                      <a:pt x="99" y="3"/>
                    </a:lnTo>
                    <a:lnTo>
                      <a:pt x="99" y="3"/>
                    </a:lnTo>
                    <a:lnTo>
                      <a:pt x="100" y="3"/>
                    </a:lnTo>
                    <a:lnTo>
                      <a:pt x="100" y="2"/>
                    </a:lnTo>
                    <a:lnTo>
                      <a:pt x="101" y="2"/>
                    </a:lnTo>
                    <a:lnTo>
                      <a:pt x="101" y="2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defTabSz="914308">
                  <a:defRPr/>
                </a:pPr>
                <a:endParaRPr lang="en-US" sz="9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02" name="Freeform 6"/>
              <p:cNvSpPr>
                <a:spLocks/>
              </p:cNvSpPr>
              <p:nvPr/>
            </p:nvSpPr>
            <p:spPr bwMode="auto">
              <a:xfrm>
                <a:off x="4633128" y="2534620"/>
                <a:ext cx="1496952" cy="1381222"/>
              </a:xfrm>
              <a:custGeom>
                <a:avLst/>
                <a:gdLst/>
                <a:ahLst/>
                <a:cxnLst>
                  <a:cxn ang="0">
                    <a:pos x="25" y="46"/>
                  </a:cxn>
                  <a:cxn ang="0">
                    <a:pos x="15" y="28"/>
                  </a:cxn>
                  <a:cxn ang="0">
                    <a:pos x="19" y="11"/>
                  </a:cxn>
                  <a:cxn ang="0">
                    <a:pos x="33" y="2"/>
                  </a:cxn>
                  <a:cxn ang="0">
                    <a:pos x="37" y="9"/>
                  </a:cxn>
                  <a:cxn ang="0">
                    <a:pos x="42" y="15"/>
                  </a:cxn>
                  <a:cxn ang="0">
                    <a:pos x="46" y="22"/>
                  </a:cxn>
                  <a:cxn ang="0">
                    <a:pos x="51" y="28"/>
                  </a:cxn>
                  <a:cxn ang="0">
                    <a:pos x="61" y="20"/>
                  </a:cxn>
                  <a:cxn ang="0">
                    <a:pos x="61" y="13"/>
                  </a:cxn>
                  <a:cxn ang="0">
                    <a:pos x="65" y="11"/>
                  </a:cxn>
                  <a:cxn ang="0">
                    <a:pos x="70" y="13"/>
                  </a:cxn>
                  <a:cxn ang="0">
                    <a:pos x="72" y="18"/>
                  </a:cxn>
                  <a:cxn ang="0">
                    <a:pos x="77" y="21"/>
                  </a:cxn>
                  <a:cxn ang="0">
                    <a:pos x="83" y="24"/>
                  </a:cxn>
                  <a:cxn ang="0">
                    <a:pos x="92" y="21"/>
                  </a:cxn>
                  <a:cxn ang="0">
                    <a:pos x="104" y="16"/>
                  </a:cxn>
                  <a:cxn ang="0">
                    <a:pos x="111" y="14"/>
                  </a:cxn>
                  <a:cxn ang="0">
                    <a:pos x="114" y="11"/>
                  </a:cxn>
                  <a:cxn ang="0">
                    <a:pos x="124" y="12"/>
                  </a:cxn>
                  <a:cxn ang="0">
                    <a:pos x="131" y="18"/>
                  </a:cxn>
                  <a:cxn ang="0">
                    <a:pos x="134" y="23"/>
                  </a:cxn>
                  <a:cxn ang="0">
                    <a:pos x="137" y="28"/>
                  </a:cxn>
                  <a:cxn ang="0">
                    <a:pos x="146" y="30"/>
                  </a:cxn>
                  <a:cxn ang="0">
                    <a:pos x="152" y="33"/>
                  </a:cxn>
                  <a:cxn ang="0">
                    <a:pos x="155" y="38"/>
                  </a:cxn>
                  <a:cxn ang="0">
                    <a:pos x="160" y="41"/>
                  </a:cxn>
                  <a:cxn ang="0">
                    <a:pos x="176" y="43"/>
                  </a:cxn>
                  <a:cxn ang="0">
                    <a:pos x="183" y="41"/>
                  </a:cxn>
                  <a:cxn ang="0">
                    <a:pos x="189" y="34"/>
                  </a:cxn>
                  <a:cxn ang="0">
                    <a:pos x="192" y="39"/>
                  </a:cxn>
                  <a:cxn ang="0">
                    <a:pos x="200" y="46"/>
                  </a:cxn>
                  <a:cxn ang="0">
                    <a:pos x="194" y="53"/>
                  </a:cxn>
                  <a:cxn ang="0">
                    <a:pos x="193" y="68"/>
                  </a:cxn>
                  <a:cxn ang="0">
                    <a:pos x="180" y="99"/>
                  </a:cxn>
                  <a:cxn ang="0">
                    <a:pos x="183" y="103"/>
                  </a:cxn>
                  <a:cxn ang="0">
                    <a:pos x="186" y="107"/>
                  </a:cxn>
                  <a:cxn ang="0">
                    <a:pos x="179" y="119"/>
                  </a:cxn>
                  <a:cxn ang="0">
                    <a:pos x="175" y="123"/>
                  </a:cxn>
                  <a:cxn ang="0">
                    <a:pos x="169" y="124"/>
                  </a:cxn>
                  <a:cxn ang="0">
                    <a:pos x="162" y="122"/>
                  </a:cxn>
                  <a:cxn ang="0">
                    <a:pos x="157" y="125"/>
                  </a:cxn>
                  <a:cxn ang="0">
                    <a:pos x="144" y="125"/>
                  </a:cxn>
                  <a:cxn ang="0">
                    <a:pos x="132" y="124"/>
                  </a:cxn>
                  <a:cxn ang="0">
                    <a:pos x="131" y="138"/>
                  </a:cxn>
                  <a:cxn ang="0">
                    <a:pos x="129" y="159"/>
                  </a:cxn>
                  <a:cxn ang="0">
                    <a:pos x="124" y="169"/>
                  </a:cxn>
                  <a:cxn ang="0">
                    <a:pos x="110" y="150"/>
                  </a:cxn>
                  <a:cxn ang="0">
                    <a:pos x="93" y="146"/>
                  </a:cxn>
                  <a:cxn ang="0">
                    <a:pos x="70" y="140"/>
                  </a:cxn>
                  <a:cxn ang="0">
                    <a:pos x="64" y="143"/>
                  </a:cxn>
                  <a:cxn ang="0">
                    <a:pos x="39" y="138"/>
                  </a:cxn>
                  <a:cxn ang="0">
                    <a:pos x="20" y="143"/>
                  </a:cxn>
                  <a:cxn ang="0">
                    <a:pos x="9" y="147"/>
                  </a:cxn>
                  <a:cxn ang="0">
                    <a:pos x="12" y="125"/>
                  </a:cxn>
                  <a:cxn ang="0">
                    <a:pos x="8" y="114"/>
                  </a:cxn>
                  <a:cxn ang="0">
                    <a:pos x="9" y="103"/>
                  </a:cxn>
                  <a:cxn ang="0">
                    <a:pos x="9" y="97"/>
                  </a:cxn>
                  <a:cxn ang="0">
                    <a:pos x="6" y="80"/>
                  </a:cxn>
                  <a:cxn ang="0">
                    <a:pos x="0" y="67"/>
                  </a:cxn>
                  <a:cxn ang="0">
                    <a:pos x="5" y="59"/>
                  </a:cxn>
                </a:cxnLst>
                <a:rect l="0" t="0" r="r" b="b"/>
                <a:pathLst>
                  <a:path w="200" h="172">
                    <a:moveTo>
                      <a:pt x="11" y="52"/>
                    </a:moveTo>
                    <a:lnTo>
                      <a:pt x="12" y="52"/>
                    </a:lnTo>
                    <a:lnTo>
                      <a:pt x="14" y="52"/>
                    </a:lnTo>
                    <a:lnTo>
                      <a:pt x="15" y="52"/>
                    </a:lnTo>
                    <a:lnTo>
                      <a:pt x="16" y="52"/>
                    </a:lnTo>
                    <a:lnTo>
                      <a:pt x="18" y="52"/>
                    </a:lnTo>
                    <a:lnTo>
                      <a:pt x="19" y="51"/>
                    </a:lnTo>
                    <a:lnTo>
                      <a:pt x="20" y="51"/>
                    </a:lnTo>
                    <a:lnTo>
                      <a:pt x="21" y="50"/>
                    </a:lnTo>
                    <a:lnTo>
                      <a:pt x="21" y="50"/>
                    </a:lnTo>
                    <a:lnTo>
                      <a:pt x="22" y="49"/>
                    </a:lnTo>
                    <a:lnTo>
                      <a:pt x="23" y="48"/>
                    </a:lnTo>
                    <a:lnTo>
                      <a:pt x="24" y="48"/>
                    </a:lnTo>
                    <a:lnTo>
                      <a:pt x="24" y="47"/>
                    </a:lnTo>
                    <a:lnTo>
                      <a:pt x="25" y="46"/>
                    </a:lnTo>
                    <a:lnTo>
                      <a:pt x="25" y="45"/>
                    </a:lnTo>
                    <a:lnTo>
                      <a:pt x="26" y="44"/>
                    </a:lnTo>
                    <a:lnTo>
                      <a:pt x="26" y="43"/>
                    </a:lnTo>
                    <a:lnTo>
                      <a:pt x="25" y="42"/>
                    </a:lnTo>
                    <a:lnTo>
                      <a:pt x="25" y="40"/>
                    </a:lnTo>
                    <a:lnTo>
                      <a:pt x="25" y="39"/>
                    </a:lnTo>
                    <a:lnTo>
                      <a:pt x="24" y="38"/>
                    </a:lnTo>
                    <a:lnTo>
                      <a:pt x="23" y="37"/>
                    </a:lnTo>
                    <a:lnTo>
                      <a:pt x="23" y="35"/>
                    </a:lnTo>
                    <a:lnTo>
                      <a:pt x="22" y="34"/>
                    </a:lnTo>
                    <a:lnTo>
                      <a:pt x="21" y="33"/>
                    </a:lnTo>
                    <a:lnTo>
                      <a:pt x="19" y="31"/>
                    </a:lnTo>
                    <a:lnTo>
                      <a:pt x="17" y="30"/>
                    </a:lnTo>
                    <a:lnTo>
                      <a:pt x="16" y="29"/>
                    </a:lnTo>
                    <a:lnTo>
                      <a:pt x="15" y="28"/>
                    </a:lnTo>
                    <a:lnTo>
                      <a:pt x="15" y="27"/>
                    </a:lnTo>
                    <a:lnTo>
                      <a:pt x="14" y="25"/>
                    </a:lnTo>
                    <a:lnTo>
                      <a:pt x="14" y="24"/>
                    </a:lnTo>
                    <a:lnTo>
                      <a:pt x="14" y="23"/>
                    </a:lnTo>
                    <a:lnTo>
                      <a:pt x="14" y="22"/>
                    </a:lnTo>
                    <a:lnTo>
                      <a:pt x="14" y="21"/>
                    </a:lnTo>
                    <a:lnTo>
                      <a:pt x="14" y="19"/>
                    </a:lnTo>
                    <a:lnTo>
                      <a:pt x="14" y="18"/>
                    </a:lnTo>
                    <a:lnTo>
                      <a:pt x="15" y="17"/>
                    </a:lnTo>
                    <a:lnTo>
                      <a:pt x="15" y="17"/>
                    </a:lnTo>
                    <a:lnTo>
                      <a:pt x="15" y="16"/>
                    </a:lnTo>
                    <a:lnTo>
                      <a:pt x="16" y="15"/>
                    </a:lnTo>
                    <a:lnTo>
                      <a:pt x="17" y="13"/>
                    </a:lnTo>
                    <a:lnTo>
                      <a:pt x="18" y="12"/>
                    </a:lnTo>
                    <a:lnTo>
                      <a:pt x="19" y="11"/>
                    </a:lnTo>
                    <a:lnTo>
                      <a:pt x="20" y="9"/>
                    </a:lnTo>
                    <a:lnTo>
                      <a:pt x="21" y="8"/>
                    </a:lnTo>
                    <a:lnTo>
                      <a:pt x="22" y="7"/>
                    </a:lnTo>
                    <a:lnTo>
                      <a:pt x="24" y="5"/>
                    </a:lnTo>
                    <a:lnTo>
                      <a:pt x="25" y="4"/>
                    </a:lnTo>
                    <a:lnTo>
                      <a:pt x="26" y="3"/>
                    </a:lnTo>
                    <a:lnTo>
                      <a:pt x="28" y="2"/>
                    </a:lnTo>
                    <a:lnTo>
                      <a:pt x="29" y="1"/>
                    </a:lnTo>
                    <a:lnTo>
                      <a:pt x="30" y="0"/>
                    </a:lnTo>
                    <a:lnTo>
                      <a:pt x="31" y="0"/>
                    </a:lnTo>
                    <a:lnTo>
                      <a:pt x="31" y="1"/>
                    </a:lnTo>
                    <a:lnTo>
                      <a:pt x="32" y="1"/>
                    </a:lnTo>
                    <a:lnTo>
                      <a:pt x="32" y="1"/>
                    </a:lnTo>
                    <a:lnTo>
                      <a:pt x="33" y="2"/>
                    </a:lnTo>
                    <a:lnTo>
                      <a:pt x="33" y="2"/>
                    </a:lnTo>
                    <a:lnTo>
                      <a:pt x="33" y="3"/>
                    </a:lnTo>
                    <a:lnTo>
                      <a:pt x="34" y="4"/>
                    </a:lnTo>
                    <a:lnTo>
                      <a:pt x="34" y="5"/>
                    </a:lnTo>
                    <a:lnTo>
                      <a:pt x="35" y="6"/>
                    </a:lnTo>
                    <a:lnTo>
                      <a:pt x="35" y="7"/>
                    </a:lnTo>
                    <a:lnTo>
                      <a:pt x="36" y="7"/>
                    </a:lnTo>
                    <a:lnTo>
                      <a:pt x="36" y="7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37" y="9"/>
                    </a:lnTo>
                    <a:lnTo>
                      <a:pt x="37" y="9"/>
                    </a:lnTo>
                    <a:lnTo>
                      <a:pt x="37" y="9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1"/>
                    </a:lnTo>
                    <a:lnTo>
                      <a:pt x="39" y="11"/>
                    </a:lnTo>
                    <a:lnTo>
                      <a:pt x="39" y="12"/>
                    </a:lnTo>
                    <a:lnTo>
                      <a:pt x="40" y="13"/>
                    </a:lnTo>
                    <a:lnTo>
                      <a:pt x="40" y="13"/>
                    </a:lnTo>
                    <a:lnTo>
                      <a:pt x="41" y="14"/>
                    </a:lnTo>
                    <a:lnTo>
                      <a:pt x="40" y="14"/>
                    </a:lnTo>
                    <a:lnTo>
                      <a:pt x="40" y="15"/>
                    </a:lnTo>
                    <a:lnTo>
                      <a:pt x="41" y="15"/>
                    </a:lnTo>
                    <a:lnTo>
                      <a:pt x="41" y="15"/>
                    </a:lnTo>
                    <a:lnTo>
                      <a:pt x="41" y="15"/>
                    </a:lnTo>
                    <a:lnTo>
                      <a:pt x="41" y="15"/>
                    </a:lnTo>
                    <a:lnTo>
                      <a:pt x="42" y="15"/>
                    </a:lnTo>
                    <a:lnTo>
                      <a:pt x="42" y="15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3" y="17"/>
                    </a:lnTo>
                    <a:lnTo>
                      <a:pt x="43" y="18"/>
                    </a:lnTo>
                    <a:lnTo>
                      <a:pt x="44" y="18"/>
                    </a:lnTo>
                    <a:lnTo>
                      <a:pt x="44" y="19"/>
                    </a:lnTo>
                    <a:lnTo>
                      <a:pt x="45" y="19"/>
                    </a:lnTo>
                    <a:lnTo>
                      <a:pt x="45" y="20"/>
                    </a:lnTo>
                    <a:lnTo>
                      <a:pt x="46" y="20"/>
                    </a:lnTo>
                    <a:lnTo>
                      <a:pt x="45" y="21"/>
                    </a:lnTo>
                    <a:lnTo>
                      <a:pt x="45" y="21"/>
                    </a:lnTo>
                    <a:lnTo>
                      <a:pt x="46" y="21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7" y="22"/>
                    </a:lnTo>
                    <a:lnTo>
                      <a:pt x="47" y="22"/>
                    </a:lnTo>
                    <a:lnTo>
                      <a:pt x="47" y="23"/>
                    </a:lnTo>
                    <a:lnTo>
                      <a:pt x="48" y="23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49" y="25"/>
                    </a:lnTo>
                    <a:lnTo>
                      <a:pt x="49" y="25"/>
                    </a:lnTo>
                    <a:lnTo>
                      <a:pt x="50" y="26"/>
                    </a:lnTo>
                    <a:lnTo>
                      <a:pt x="50" y="26"/>
                    </a:lnTo>
                    <a:lnTo>
                      <a:pt x="51" y="27"/>
                    </a:lnTo>
                    <a:lnTo>
                      <a:pt x="50" y="28"/>
                    </a:lnTo>
                    <a:lnTo>
                      <a:pt x="50" y="28"/>
                    </a:lnTo>
                    <a:lnTo>
                      <a:pt x="51" y="28"/>
                    </a:lnTo>
                    <a:lnTo>
                      <a:pt x="51" y="28"/>
                    </a:lnTo>
                    <a:lnTo>
                      <a:pt x="51" y="29"/>
                    </a:lnTo>
                    <a:lnTo>
                      <a:pt x="51" y="29"/>
                    </a:lnTo>
                    <a:lnTo>
                      <a:pt x="52" y="29"/>
                    </a:lnTo>
                    <a:lnTo>
                      <a:pt x="52" y="29"/>
                    </a:lnTo>
                    <a:lnTo>
                      <a:pt x="53" y="28"/>
                    </a:lnTo>
                    <a:lnTo>
                      <a:pt x="55" y="27"/>
                    </a:lnTo>
                    <a:lnTo>
                      <a:pt x="56" y="26"/>
                    </a:lnTo>
                    <a:lnTo>
                      <a:pt x="57" y="25"/>
                    </a:lnTo>
                    <a:lnTo>
                      <a:pt x="58" y="24"/>
                    </a:lnTo>
                    <a:lnTo>
                      <a:pt x="59" y="23"/>
                    </a:lnTo>
                    <a:lnTo>
                      <a:pt x="60" y="22"/>
                    </a:lnTo>
                    <a:lnTo>
                      <a:pt x="61" y="20"/>
                    </a:lnTo>
                    <a:lnTo>
                      <a:pt x="61" y="20"/>
                    </a:lnTo>
                    <a:lnTo>
                      <a:pt x="61" y="20"/>
                    </a:lnTo>
                    <a:lnTo>
                      <a:pt x="61" y="20"/>
                    </a:lnTo>
                    <a:lnTo>
                      <a:pt x="61" y="20"/>
                    </a:lnTo>
                    <a:lnTo>
                      <a:pt x="61" y="20"/>
                    </a:lnTo>
                    <a:lnTo>
                      <a:pt x="62" y="20"/>
                    </a:lnTo>
                    <a:lnTo>
                      <a:pt x="62" y="19"/>
                    </a:lnTo>
                    <a:lnTo>
                      <a:pt x="61" y="19"/>
                    </a:lnTo>
                    <a:lnTo>
                      <a:pt x="61" y="19"/>
                    </a:lnTo>
                    <a:lnTo>
                      <a:pt x="61" y="19"/>
                    </a:lnTo>
                    <a:lnTo>
                      <a:pt x="61" y="19"/>
                    </a:lnTo>
                    <a:lnTo>
                      <a:pt x="61" y="18"/>
                    </a:lnTo>
                    <a:lnTo>
                      <a:pt x="61" y="17"/>
                    </a:lnTo>
                    <a:lnTo>
                      <a:pt x="60" y="16"/>
                    </a:lnTo>
                    <a:lnTo>
                      <a:pt x="60" y="15"/>
                    </a:lnTo>
                    <a:lnTo>
                      <a:pt x="61" y="14"/>
                    </a:lnTo>
                    <a:lnTo>
                      <a:pt x="61" y="13"/>
                    </a:lnTo>
                    <a:lnTo>
                      <a:pt x="61" y="13"/>
                    </a:lnTo>
                    <a:lnTo>
                      <a:pt x="61" y="13"/>
                    </a:lnTo>
                    <a:lnTo>
                      <a:pt x="61" y="12"/>
                    </a:lnTo>
                    <a:lnTo>
                      <a:pt x="62" y="12"/>
                    </a:lnTo>
                    <a:lnTo>
                      <a:pt x="62" y="12"/>
                    </a:lnTo>
                    <a:lnTo>
                      <a:pt x="63" y="12"/>
                    </a:lnTo>
                    <a:lnTo>
                      <a:pt x="63" y="12"/>
                    </a:lnTo>
                    <a:lnTo>
                      <a:pt x="63" y="12"/>
                    </a:lnTo>
                    <a:lnTo>
                      <a:pt x="64" y="12"/>
                    </a:lnTo>
                    <a:lnTo>
                      <a:pt x="64" y="11"/>
                    </a:lnTo>
                    <a:lnTo>
                      <a:pt x="64" y="11"/>
                    </a:lnTo>
                    <a:lnTo>
                      <a:pt x="64" y="11"/>
                    </a:lnTo>
                    <a:lnTo>
                      <a:pt x="64" y="11"/>
                    </a:lnTo>
                    <a:lnTo>
                      <a:pt x="64" y="11"/>
                    </a:lnTo>
                    <a:lnTo>
                      <a:pt x="65" y="11"/>
                    </a:lnTo>
                    <a:lnTo>
                      <a:pt x="65" y="11"/>
                    </a:lnTo>
                    <a:lnTo>
                      <a:pt x="66" y="11"/>
                    </a:lnTo>
                    <a:lnTo>
                      <a:pt x="65" y="11"/>
                    </a:lnTo>
                    <a:lnTo>
                      <a:pt x="65" y="11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7" y="12"/>
                    </a:lnTo>
                    <a:lnTo>
                      <a:pt x="67" y="12"/>
                    </a:lnTo>
                    <a:lnTo>
                      <a:pt x="68" y="12"/>
                    </a:lnTo>
                    <a:lnTo>
                      <a:pt x="69" y="12"/>
                    </a:lnTo>
                    <a:lnTo>
                      <a:pt x="69" y="12"/>
                    </a:lnTo>
                    <a:lnTo>
                      <a:pt x="70" y="13"/>
                    </a:lnTo>
                    <a:lnTo>
                      <a:pt x="70" y="13"/>
                    </a:lnTo>
                    <a:lnTo>
                      <a:pt x="70" y="13"/>
                    </a:lnTo>
                    <a:lnTo>
                      <a:pt x="71" y="14"/>
                    </a:lnTo>
                    <a:lnTo>
                      <a:pt x="71" y="14"/>
                    </a:lnTo>
                    <a:lnTo>
                      <a:pt x="71" y="14"/>
                    </a:lnTo>
                    <a:lnTo>
                      <a:pt x="71" y="15"/>
                    </a:lnTo>
                    <a:lnTo>
                      <a:pt x="71" y="15"/>
                    </a:lnTo>
                    <a:lnTo>
                      <a:pt x="71" y="16"/>
                    </a:lnTo>
                    <a:lnTo>
                      <a:pt x="71" y="16"/>
                    </a:lnTo>
                    <a:lnTo>
                      <a:pt x="71" y="16"/>
                    </a:lnTo>
                    <a:lnTo>
                      <a:pt x="71" y="17"/>
                    </a:lnTo>
                    <a:lnTo>
                      <a:pt x="71" y="17"/>
                    </a:lnTo>
                    <a:lnTo>
                      <a:pt x="71" y="17"/>
                    </a:lnTo>
                    <a:lnTo>
                      <a:pt x="72" y="17"/>
                    </a:lnTo>
                    <a:lnTo>
                      <a:pt x="72" y="17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3" y="18"/>
                    </a:lnTo>
                    <a:lnTo>
                      <a:pt x="73" y="18"/>
                    </a:lnTo>
                    <a:lnTo>
                      <a:pt x="73" y="19"/>
                    </a:lnTo>
                    <a:lnTo>
                      <a:pt x="74" y="19"/>
                    </a:lnTo>
                    <a:lnTo>
                      <a:pt x="75" y="19"/>
                    </a:lnTo>
                    <a:lnTo>
                      <a:pt x="75" y="19"/>
                    </a:lnTo>
                    <a:lnTo>
                      <a:pt x="76" y="19"/>
                    </a:lnTo>
                    <a:lnTo>
                      <a:pt x="76" y="19"/>
                    </a:lnTo>
                    <a:lnTo>
                      <a:pt x="77" y="19"/>
                    </a:lnTo>
                    <a:lnTo>
                      <a:pt x="77" y="20"/>
                    </a:lnTo>
                    <a:lnTo>
                      <a:pt x="77" y="20"/>
                    </a:lnTo>
                    <a:lnTo>
                      <a:pt x="77" y="20"/>
                    </a:lnTo>
                    <a:lnTo>
                      <a:pt x="77" y="21"/>
                    </a:lnTo>
                    <a:lnTo>
                      <a:pt x="77" y="21"/>
                    </a:lnTo>
                    <a:lnTo>
                      <a:pt x="77" y="21"/>
                    </a:lnTo>
                    <a:lnTo>
                      <a:pt x="77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9" y="22"/>
                    </a:lnTo>
                    <a:lnTo>
                      <a:pt x="79" y="22"/>
                    </a:lnTo>
                    <a:lnTo>
                      <a:pt x="79" y="23"/>
                    </a:lnTo>
                    <a:lnTo>
                      <a:pt x="79" y="23"/>
                    </a:lnTo>
                    <a:lnTo>
                      <a:pt x="79" y="23"/>
                    </a:lnTo>
                    <a:lnTo>
                      <a:pt x="80" y="24"/>
                    </a:lnTo>
                    <a:lnTo>
                      <a:pt x="81" y="24"/>
                    </a:lnTo>
                    <a:lnTo>
                      <a:pt x="82" y="24"/>
                    </a:lnTo>
                    <a:lnTo>
                      <a:pt x="83" y="24"/>
                    </a:lnTo>
                    <a:lnTo>
                      <a:pt x="83" y="24"/>
                    </a:lnTo>
                    <a:lnTo>
                      <a:pt x="84" y="24"/>
                    </a:lnTo>
                    <a:lnTo>
                      <a:pt x="85" y="24"/>
                    </a:lnTo>
                    <a:lnTo>
                      <a:pt x="86" y="24"/>
                    </a:lnTo>
                    <a:lnTo>
                      <a:pt x="87" y="24"/>
                    </a:lnTo>
                    <a:lnTo>
                      <a:pt x="88" y="23"/>
                    </a:lnTo>
                    <a:lnTo>
                      <a:pt x="89" y="23"/>
                    </a:lnTo>
                    <a:lnTo>
                      <a:pt x="90" y="23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1" y="22"/>
                    </a:lnTo>
                    <a:lnTo>
                      <a:pt x="91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1"/>
                    </a:lnTo>
                    <a:lnTo>
                      <a:pt x="92" y="21"/>
                    </a:lnTo>
                    <a:lnTo>
                      <a:pt x="92" y="21"/>
                    </a:lnTo>
                    <a:lnTo>
                      <a:pt x="92" y="20"/>
                    </a:lnTo>
                    <a:lnTo>
                      <a:pt x="94" y="21"/>
                    </a:lnTo>
                    <a:lnTo>
                      <a:pt x="95" y="21"/>
                    </a:lnTo>
                    <a:lnTo>
                      <a:pt x="96" y="21"/>
                    </a:lnTo>
                    <a:lnTo>
                      <a:pt x="97" y="21"/>
                    </a:lnTo>
                    <a:lnTo>
                      <a:pt x="98" y="20"/>
                    </a:lnTo>
                    <a:lnTo>
                      <a:pt x="99" y="20"/>
                    </a:lnTo>
                    <a:lnTo>
                      <a:pt x="100" y="20"/>
                    </a:lnTo>
                    <a:lnTo>
                      <a:pt x="100" y="19"/>
                    </a:lnTo>
                    <a:lnTo>
                      <a:pt x="101" y="19"/>
                    </a:lnTo>
                    <a:lnTo>
                      <a:pt x="102" y="18"/>
                    </a:lnTo>
                    <a:lnTo>
                      <a:pt x="103" y="17"/>
                    </a:lnTo>
                    <a:lnTo>
                      <a:pt x="104" y="16"/>
                    </a:lnTo>
                    <a:lnTo>
                      <a:pt x="105" y="16"/>
                    </a:lnTo>
                    <a:lnTo>
                      <a:pt x="106" y="15"/>
                    </a:lnTo>
                    <a:lnTo>
                      <a:pt x="106" y="16"/>
                    </a:lnTo>
                    <a:lnTo>
                      <a:pt x="107" y="16"/>
                    </a:lnTo>
                    <a:lnTo>
                      <a:pt x="107" y="15"/>
                    </a:lnTo>
                    <a:lnTo>
                      <a:pt x="108" y="15"/>
                    </a:lnTo>
                    <a:lnTo>
                      <a:pt x="108" y="15"/>
                    </a:lnTo>
                    <a:lnTo>
                      <a:pt x="108" y="15"/>
                    </a:lnTo>
                    <a:lnTo>
                      <a:pt x="109" y="14"/>
                    </a:lnTo>
                    <a:lnTo>
                      <a:pt x="109" y="14"/>
                    </a:lnTo>
                    <a:lnTo>
                      <a:pt x="109" y="14"/>
                    </a:lnTo>
                    <a:lnTo>
                      <a:pt x="110" y="14"/>
                    </a:lnTo>
                    <a:lnTo>
                      <a:pt x="110" y="14"/>
                    </a:lnTo>
                    <a:lnTo>
                      <a:pt x="111" y="14"/>
                    </a:lnTo>
                    <a:lnTo>
                      <a:pt x="111" y="14"/>
                    </a:lnTo>
                    <a:lnTo>
                      <a:pt x="111" y="14"/>
                    </a:lnTo>
                    <a:lnTo>
                      <a:pt x="112" y="14"/>
                    </a:lnTo>
                    <a:lnTo>
                      <a:pt x="112" y="13"/>
                    </a:lnTo>
                    <a:lnTo>
                      <a:pt x="112" y="13"/>
                    </a:lnTo>
                    <a:lnTo>
                      <a:pt x="112" y="13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1"/>
                    </a:lnTo>
                    <a:lnTo>
                      <a:pt x="112" y="11"/>
                    </a:lnTo>
                    <a:lnTo>
                      <a:pt x="112" y="11"/>
                    </a:lnTo>
                    <a:lnTo>
                      <a:pt x="113" y="11"/>
                    </a:lnTo>
                    <a:lnTo>
                      <a:pt x="113" y="10"/>
                    </a:lnTo>
                    <a:lnTo>
                      <a:pt x="113" y="10"/>
                    </a:lnTo>
                    <a:lnTo>
                      <a:pt x="114" y="11"/>
                    </a:lnTo>
                    <a:lnTo>
                      <a:pt x="116" y="11"/>
                    </a:lnTo>
                    <a:lnTo>
                      <a:pt x="119" y="11"/>
                    </a:lnTo>
                    <a:lnTo>
                      <a:pt x="119" y="11"/>
                    </a:lnTo>
                    <a:lnTo>
                      <a:pt x="120" y="11"/>
                    </a:lnTo>
                    <a:lnTo>
                      <a:pt x="120" y="11"/>
                    </a:lnTo>
                    <a:lnTo>
                      <a:pt x="121" y="11"/>
                    </a:lnTo>
                    <a:lnTo>
                      <a:pt x="122" y="11"/>
                    </a:lnTo>
                    <a:lnTo>
                      <a:pt x="122" y="11"/>
                    </a:lnTo>
                    <a:lnTo>
                      <a:pt x="122" y="11"/>
                    </a:lnTo>
                    <a:lnTo>
                      <a:pt x="122" y="12"/>
                    </a:lnTo>
                    <a:lnTo>
                      <a:pt x="122" y="12"/>
                    </a:lnTo>
                    <a:lnTo>
                      <a:pt x="123" y="12"/>
                    </a:lnTo>
                    <a:lnTo>
                      <a:pt x="123" y="12"/>
                    </a:lnTo>
                    <a:lnTo>
                      <a:pt x="123" y="12"/>
                    </a:lnTo>
                    <a:lnTo>
                      <a:pt x="124" y="12"/>
                    </a:lnTo>
                    <a:lnTo>
                      <a:pt x="125" y="12"/>
                    </a:lnTo>
                    <a:lnTo>
                      <a:pt x="125" y="12"/>
                    </a:lnTo>
                    <a:lnTo>
                      <a:pt x="126" y="12"/>
                    </a:lnTo>
                    <a:lnTo>
                      <a:pt x="126" y="12"/>
                    </a:lnTo>
                    <a:lnTo>
                      <a:pt x="127" y="13"/>
                    </a:lnTo>
                    <a:lnTo>
                      <a:pt x="127" y="13"/>
                    </a:lnTo>
                    <a:lnTo>
                      <a:pt x="128" y="13"/>
                    </a:lnTo>
                    <a:lnTo>
                      <a:pt x="128" y="14"/>
                    </a:lnTo>
                    <a:lnTo>
                      <a:pt x="129" y="14"/>
                    </a:lnTo>
                    <a:lnTo>
                      <a:pt x="129" y="15"/>
                    </a:lnTo>
                    <a:lnTo>
                      <a:pt x="130" y="16"/>
                    </a:lnTo>
                    <a:lnTo>
                      <a:pt x="131" y="17"/>
                    </a:lnTo>
                    <a:lnTo>
                      <a:pt x="130" y="18"/>
                    </a:lnTo>
                    <a:lnTo>
                      <a:pt x="130" y="18"/>
                    </a:lnTo>
                    <a:lnTo>
                      <a:pt x="131" y="18"/>
                    </a:lnTo>
                    <a:lnTo>
                      <a:pt x="131" y="18"/>
                    </a:lnTo>
                    <a:lnTo>
                      <a:pt x="131" y="19"/>
                    </a:lnTo>
                    <a:lnTo>
                      <a:pt x="131" y="19"/>
                    </a:lnTo>
                    <a:lnTo>
                      <a:pt x="132" y="19"/>
                    </a:lnTo>
                    <a:lnTo>
                      <a:pt x="132" y="19"/>
                    </a:lnTo>
                    <a:lnTo>
                      <a:pt x="132" y="19"/>
                    </a:lnTo>
                    <a:lnTo>
                      <a:pt x="132" y="20"/>
                    </a:lnTo>
                    <a:lnTo>
                      <a:pt x="133" y="20"/>
                    </a:lnTo>
                    <a:lnTo>
                      <a:pt x="133" y="20"/>
                    </a:lnTo>
                    <a:lnTo>
                      <a:pt x="133" y="21"/>
                    </a:lnTo>
                    <a:lnTo>
                      <a:pt x="134" y="22"/>
                    </a:lnTo>
                    <a:lnTo>
                      <a:pt x="134" y="22"/>
                    </a:lnTo>
                    <a:lnTo>
                      <a:pt x="134" y="23"/>
                    </a:lnTo>
                    <a:lnTo>
                      <a:pt x="134" y="23"/>
                    </a:lnTo>
                    <a:lnTo>
                      <a:pt x="134" y="23"/>
                    </a:lnTo>
                    <a:lnTo>
                      <a:pt x="134" y="23"/>
                    </a:lnTo>
                    <a:lnTo>
                      <a:pt x="134" y="24"/>
                    </a:lnTo>
                    <a:lnTo>
                      <a:pt x="135" y="24"/>
                    </a:lnTo>
                    <a:lnTo>
                      <a:pt x="135" y="24"/>
                    </a:lnTo>
                    <a:lnTo>
                      <a:pt x="136" y="24"/>
                    </a:lnTo>
                    <a:lnTo>
                      <a:pt x="136" y="24"/>
                    </a:lnTo>
                    <a:lnTo>
                      <a:pt x="136" y="25"/>
                    </a:lnTo>
                    <a:lnTo>
                      <a:pt x="136" y="25"/>
                    </a:lnTo>
                    <a:lnTo>
                      <a:pt x="136" y="26"/>
                    </a:lnTo>
                    <a:lnTo>
                      <a:pt x="137" y="26"/>
                    </a:lnTo>
                    <a:lnTo>
                      <a:pt x="137" y="27"/>
                    </a:lnTo>
                    <a:lnTo>
                      <a:pt x="137" y="27"/>
                    </a:lnTo>
                    <a:lnTo>
                      <a:pt x="137" y="28"/>
                    </a:lnTo>
                    <a:lnTo>
                      <a:pt x="137" y="28"/>
                    </a:lnTo>
                    <a:lnTo>
                      <a:pt x="137" y="28"/>
                    </a:lnTo>
                    <a:lnTo>
                      <a:pt x="137" y="28"/>
                    </a:lnTo>
                    <a:lnTo>
                      <a:pt x="138" y="29"/>
                    </a:lnTo>
                    <a:lnTo>
                      <a:pt x="138" y="29"/>
                    </a:lnTo>
                    <a:lnTo>
                      <a:pt x="138" y="29"/>
                    </a:lnTo>
                    <a:lnTo>
                      <a:pt x="139" y="29"/>
                    </a:lnTo>
                    <a:lnTo>
                      <a:pt x="140" y="29"/>
                    </a:lnTo>
                    <a:lnTo>
                      <a:pt x="142" y="29"/>
                    </a:lnTo>
                    <a:lnTo>
                      <a:pt x="144" y="29"/>
                    </a:lnTo>
                    <a:lnTo>
                      <a:pt x="145" y="29"/>
                    </a:lnTo>
                    <a:lnTo>
                      <a:pt x="145" y="29"/>
                    </a:lnTo>
                    <a:lnTo>
                      <a:pt x="145" y="29"/>
                    </a:lnTo>
                    <a:lnTo>
                      <a:pt x="145" y="30"/>
                    </a:lnTo>
                    <a:lnTo>
                      <a:pt x="146" y="30"/>
                    </a:lnTo>
                    <a:lnTo>
                      <a:pt x="146" y="30"/>
                    </a:lnTo>
                    <a:lnTo>
                      <a:pt x="146" y="30"/>
                    </a:lnTo>
                    <a:lnTo>
                      <a:pt x="147" y="30"/>
                    </a:lnTo>
                    <a:lnTo>
                      <a:pt x="147" y="30"/>
                    </a:lnTo>
                    <a:lnTo>
                      <a:pt x="148" y="30"/>
                    </a:lnTo>
                    <a:lnTo>
                      <a:pt x="149" y="30"/>
                    </a:lnTo>
                    <a:lnTo>
                      <a:pt x="150" y="30"/>
                    </a:lnTo>
                    <a:lnTo>
                      <a:pt x="151" y="30"/>
                    </a:lnTo>
                    <a:lnTo>
                      <a:pt x="150" y="31"/>
                    </a:lnTo>
                    <a:lnTo>
                      <a:pt x="150" y="31"/>
                    </a:lnTo>
                    <a:lnTo>
                      <a:pt x="151" y="31"/>
                    </a:lnTo>
                    <a:lnTo>
                      <a:pt x="151" y="32"/>
                    </a:lnTo>
                    <a:lnTo>
                      <a:pt x="151" y="32"/>
                    </a:lnTo>
                    <a:lnTo>
                      <a:pt x="151" y="32"/>
                    </a:lnTo>
                    <a:lnTo>
                      <a:pt x="152" y="32"/>
                    </a:lnTo>
                    <a:lnTo>
                      <a:pt x="152" y="32"/>
                    </a:lnTo>
                    <a:lnTo>
                      <a:pt x="152" y="33"/>
                    </a:lnTo>
                    <a:lnTo>
                      <a:pt x="152" y="33"/>
                    </a:lnTo>
                    <a:lnTo>
                      <a:pt x="153" y="33"/>
                    </a:lnTo>
                    <a:lnTo>
                      <a:pt x="153" y="34"/>
                    </a:lnTo>
                    <a:lnTo>
                      <a:pt x="153" y="35"/>
                    </a:lnTo>
                    <a:lnTo>
                      <a:pt x="154" y="35"/>
                    </a:lnTo>
                    <a:lnTo>
                      <a:pt x="154" y="35"/>
                    </a:lnTo>
                    <a:lnTo>
                      <a:pt x="154" y="36"/>
                    </a:lnTo>
                    <a:lnTo>
                      <a:pt x="154" y="36"/>
                    </a:lnTo>
                    <a:lnTo>
                      <a:pt x="154" y="37"/>
                    </a:lnTo>
                    <a:lnTo>
                      <a:pt x="154" y="37"/>
                    </a:lnTo>
                    <a:lnTo>
                      <a:pt x="154" y="37"/>
                    </a:lnTo>
                    <a:lnTo>
                      <a:pt x="155" y="37"/>
                    </a:lnTo>
                    <a:lnTo>
                      <a:pt x="155" y="37"/>
                    </a:lnTo>
                    <a:lnTo>
                      <a:pt x="155" y="37"/>
                    </a:lnTo>
                    <a:lnTo>
                      <a:pt x="155" y="38"/>
                    </a:lnTo>
                    <a:lnTo>
                      <a:pt x="156" y="38"/>
                    </a:lnTo>
                    <a:lnTo>
                      <a:pt x="156" y="38"/>
                    </a:lnTo>
                    <a:lnTo>
                      <a:pt x="156" y="39"/>
                    </a:lnTo>
                    <a:lnTo>
                      <a:pt x="156" y="39"/>
                    </a:lnTo>
                    <a:lnTo>
                      <a:pt x="157" y="39"/>
                    </a:lnTo>
                    <a:lnTo>
                      <a:pt x="157" y="39"/>
                    </a:lnTo>
                    <a:lnTo>
                      <a:pt x="157" y="39"/>
                    </a:lnTo>
                    <a:lnTo>
                      <a:pt x="157" y="39"/>
                    </a:lnTo>
                    <a:lnTo>
                      <a:pt x="157" y="40"/>
                    </a:lnTo>
                    <a:lnTo>
                      <a:pt x="157" y="40"/>
                    </a:lnTo>
                    <a:lnTo>
                      <a:pt x="158" y="40"/>
                    </a:lnTo>
                    <a:lnTo>
                      <a:pt x="158" y="40"/>
                    </a:lnTo>
                    <a:lnTo>
                      <a:pt x="158" y="40"/>
                    </a:lnTo>
                    <a:lnTo>
                      <a:pt x="159" y="40"/>
                    </a:lnTo>
                    <a:lnTo>
                      <a:pt x="160" y="41"/>
                    </a:lnTo>
                    <a:lnTo>
                      <a:pt x="160" y="41"/>
                    </a:lnTo>
                    <a:lnTo>
                      <a:pt x="161" y="42"/>
                    </a:lnTo>
                    <a:lnTo>
                      <a:pt x="162" y="42"/>
                    </a:lnTo>
                    <a:lnTo>
                      <a:pt x="163" y="42"/>
                    </a:lnTo>
                    <a:lnTo>
                      <a:pt x="164" y="42"/>
                    </a:lnTo>
                    <a:lnTo>
                      <a:pt x="165" y="42"/>
                    </a:lnTo>
                    <a:lnTo>
                      <a:pt x="166" y="42"/>
                    </a:lnTo>
                    <a:lnTo>
                      <a:pt x="168" y="42"/>
                    </a:lnTo>
                    <a:lnTo>
                      <a:pt x="171" y="42"/>
                    </a:lnTo>
                    <a:lnTo>
                      <a:pt x="173" y="42"/>
                    </a:lnTo>
                    <a:lnTo>
                      <a:pt x="174" y="42"/>
                    </a:lnTo>
                    <a:lnTo>
                      <a:pt x="176" y="42"/>
                    </a:lnTo>
                    <a:lnTo>
                      <a:pt x="176" y="42"/>
                    </a:lnTo>
                    <a:lnTo>
                      <a:pt x="176" y="43"/>
                    </a:lnTo>
                    <a:lnTo>
                      <a:pt x="176" y="43"/>
                    </a:lnTo>
                    <a:lnTo>
                      <a:pt x="176" y="43"/>
                    </a:lnTo>
                    <a:lnTo>
                      <a:pt x="176" y="43"/>
                    </a:lnTo>
                    <a:lnTo>
                      <a:pt x="176" y="43"/>
                    </a:lnTo>
                    <a:lnTo>
                      <a:pt x="176" y="43"/>
                    </a:lnTo>
                    <a:lnTo>
                      <a:pt x="177" y="43"/>
                    </a:lnTo>
                    <a:lnTo>
                      <a:pt x="177" y="43"/>
                    </a:lnTo>
                    <a:lnTo>
                      <a:pt x="177" y="42"/>
                    </a:lnTo>
                    <a:lnTo>
                      <a:pt x="177" y="42"/>
                    </a:lnTo>
                    <a:lnTo>
                      <a:pt x="178" y="42"/>
                    </a:lnTo>
                    <a:lnTo>
                      <a:pt x="179" y="42"/>
                    </a:lnTo>
                    <a:lnTo>
                      <a:pt x="180" y="42"/>
                    </a:lnTo>
                    <a:lnTo>
                      <a:pt x="181" y="42"/>
                    </a:lnTo>
                    <a:lnTo>
                      <a:pt x="182" y="42"/>
                    </a:lnTo>
                    <a:lnTo>
                      <a:pt x="182" y="41"/>
                    </a:lnTo>
                    <a:lnTo>
                      <a:pt x="183" y="41"/>
                    </a:lnTo>
                    <a:lnTo>
                      <a:pt x="184" y="40"/>
                    </a:lnTo>
                    <a:lnTo>
                      <a:pt x="184" y="40"/>
                    </a:lnTo>
                    <a:lnTo>
                      <a:pt x="185" y="39"/>
                    </a:lnTo>
                    <a:lnTo>
                      <a:pt x="185" y="38"/>
                    </a:lnTo>
                    <a:lnTo>
                      <a:pt x="186" y="37"/>
                    </a:lnTo>
                    <a:lnTo>
                      <a:pt x="187" y="35"/>
                    </a:lnTo>
                    <a:lnTo>
                      <a:pt x="188" y="36"/>
                    </a:lnTo>
                    <a:lnTo>
                      <a:pt x="188" y="35"/>
                    </a:lnTo>
                    <a:lnTo>
                      <a:pt x="188" y="35"/>
                    </a:lnTo>
                    <a:lnTo>
                      <a:pt x="188" y="35"/>
                    </a:lnTo>
                    <a:lnTo>
                      <a:pt x="189" y="35"/>
                    </a:lnTo>
                    <a:lnTo>
                      <a:pt x="189" y="34"/>
                    </a:lnTo>
                    <a:lnTo>
                      <a:pt x="189" y="34"/>
                    </a:lnTo>
                    <a:lnTo>
                      <a:pt x="189" y="34"/>
                    </a:lnTo>
                    <a:lnTo>
                      <a:pt x="189" y="34"/>
                    </a:lnTo>
                    <a:lnTo>
                      <a:pt x="190" y="34"/>
                    </a:lnTo>
                    <a:lnTo>
                      <a:pt x="190" y="34"/>
                    </a:lnTo>
                    <a:lnTo>
                      <a:pt x="190" y="35"/>
                    </a:lnTo>
                    <a:lnTo>
                      <a:pt x="190" y="35"/>
                    </a:lnTo>
                    <a:lnTo>
                      <a:pt x="190" y="36"/>
                    </a:lnTo>
                    <a:lnTo>
                      <a:pt x="190" y="36"/>
                    </a:lnTo>
                    <a:lnTo>
                      <a:pt x="190" y="37"/>
                    </a:lnTo>
                    <a:lnTo>
                      <a:pt x="190" y="38"/>
                    </a:lnTo>
                    <a:lnTo>
                      <a:pt x="190" y="38"/>
                    </a:lnTo>
                    <a:lnTo>
                      <a:pt x="190" y="38"/>
                    </a:lnTo>
                    <a:lnTo>
                      <a:pt x="191" y="38"/>
                    </a:lnTo>
                    <a:lnTo>
                      <a:pt x="191" y="39"/>
                    </a:lnTo>
                    <a:lnTo>
                      <a:pt x="191" y="39"/>
                    </a:lnTo>
                    <a:lnTo>
                      <a:pt x="192" y="39"/>
                    </a:lnTo>
                    <a:lnTo>
                      <a:pt x="192" y="39"/>
                    </a:lnTo>
                    <a:lnTo>
                      <a:pt x="193" y="39"/>
                    </a:lnTo>
                    <a:lnTo>
                      <a:pt x="193" y="39"/>
                    </a:lnTo>
                    <a:lnTo>
                      <a:pt x="194" y="39"/>
                    </a:lnTo>
                    <a:lnTo>
                      <a:pt x="194" y="39"/>
                    </a:lnTo>
                    <a:lnTo>
                      <a:pt x="195" y="40"/>
                    </a:lnTo>
                    <a:lnTo>
                      <a:pt x="196" y="41"/>
                    </a:lnTo>
                    <a:lnTo>
                      <a:pt x="197" y="41"/>
                    </a:lnTo>
                    <a:lnTo>
                      <a:pt x="197" y="42"/>
                    </a:lnTo>
                    <a:lnTo>
                      <a:pt x="198" y="43"/>
                    </a:lnTo>
                    <a:lnTo>
                      <a:pt x="199" y="44"/>
                    </a:lnTo>
                    <a:lnTo>
                      <a:pt x="199" y="44"/>
                    </a:lnTo>
                    <a:lnTo>
                      <a:pt x="199" y="45"/>
                    </a:lnTo>
                    <a:lnTo>
                      <a:pt x="199" y="45"/>
                    </a:lnTo>
                    <a:lnTo>
                      <a:pt x="199" y="45"/>
                    </a:lnTo>
                    <a:lnTo>
                      <a:pt x="200" y="46"/>
                    </a:lnTo>
                    <a:lnTo>
                      <a:pt x="200" y="47"/>
                    </a:lnTo>
                    <a:lnTo>
                      <a:pt x="200" y="47"/>
                    </a:lnTo>
                    <a:lnTo>
                      <a:pt x="200" y="47"/>
                    </a:lnTo>
                    <a:lnTo>
                      <a:pt x="199" y="47"/>
                    </a:lnTo>
                    <a:lnTo>
                      <a:pt x="198" y="47"/>
                    </a:lnTo>
                    <a:lnTo>
                      <a:pt x="198" y="47"/>
                    </a:lnTo>
                    <a:lnTo>
                      <a:pt x="197" y="48"/>
                    </a:lnTo>
                    <a:lnTo>
                      <a:pt x="197" y="48"/>
                    </a:lnTo>
                    <a:lnTo>
                      <a:pt x="196" y="48"/>
                    </a:lnTo>
                    <a:lnTo>
                      <a:pt x="196" y="48"/>
                    </a:lnTo>
                    <a:lnTo>
                      <a:pt x="195" y="49"/>
                    </a:lnTo>
                    <a:lnTo>
                      <a:pt x="195" y="50"/>
                    </a:lnTo>
                    <a:lnTo>
                      <a:pt x="194" y="51"/>
                    </a:lnTo>
                    <a:lnTo>
                      <a:pt x="194" y="52"/>
                    </a:lnTo>
                    <a:lnTo>
                      <a:pt x="194" y="53"/>
                    </a:lnTo>
                    <a:lnTo>
                      <a:pt x="194" y="54"/>
                    </a:lnTo>
                    <a:lnTo>
                      <a:pt x="194" y="54"/>
                    </a:lnTo>
                    <a:lnTo>
                      <a:pt x="195" y="55"/>
                    </a:lnTo>
                    <a:lnTo>
                      <a:pt x="196" y="56"/>
                    </a:lnTo>
                    <a:lnTo>
                      <a:pt x="196" y="58"/>
                    </a:lnTo>
                    <a:lnTo>
                      <a:pt x="197" y="58"/>
                    </a:lnTo>
                    <a:lnTo>
                      <a:pt x="197" y="59"/>
                    </a:lnTo>
                    <a:lnTo>
                      <a:pt x="197" y="60"/>
                    </a:lnTo>
                    <a:lnTo>
                      <a:pt x="197" y="61"/>
                    </a:lnTo>
                    <a:lnTo>
                      <a:pt x="198" y="62"/>
                    </a:lnTo>
                    <a:lnTo>
                      <a:pt x="198" y="63"/>
                    </a:lnTo>
                    <a:lnTo>
                      <a:pt x="197" y="64"/>
                    </a:lnTo>
                    <a:lnTo>
                      <a:pt x="197" y="65"/>
                    </a:lnTo>
                    <a:lnTo>
                      <a:pt x="195" y="67"/>
                    </a:lnTo>
                    <a:lnTo>
                      <a:pt x="193" y="68"/>
                    </a:lnTo>
                    <a:lnTo>
                      <a:pt x="188" y="71"/>
                    </a:lnTo>
                    <a:lnTo>
                      <a:pt x="186" y="72"/>
                    </a:lnTo>
                    <a:lnTo>
                      <a:pt x="184" y="73"/>
                    </a:lnTo>
                    <a:lnTo>
                      <a:pt x="181" y="74"/>
                    </a:lnTo>
                    <a:lnTo>
                      <a:pt x="179" y="75"/>
                    </a:lnTo>
                    <a:lnTo>
                      <a:pt x="179" y="79"/>
                    </a:lnTo>
                    <a:lnTo>
                      <a:pt x="179" y="82"/>
                    </a:lnTo>
                    <a:lnTo>
                      <a:pt x="179" y="85"/>
                    </a:lnTo>
                    <a:lnTo>
                      <a:pt x="179" y="88"/>
                    </a:lnTo>
                    <a:lnTo>
                      <a:pt x="179" y="91"/>
                    </a:lnTo>
                    <a:lnTo>
                      <a:pt x="179" y="93"/>
                    </a:lnTo>
                    <a:lnTo>
                      <a:pt x="180" y="96"/>
                    </a:lnTo>
                    <a:lnTo>
                      <a:pt x="181" y="99"/>
                    </a:lnTo>
                    <a:lnTo>
                      <a:pt x="180" y="99"/>
                    </a:lnTo>
                    <a:lnTo>
                      <a:pt x="180" y="99"/>
                    </a:lnTo>
                    <a:lnTo>
                      <a:pt x="181" y="100"/>
                    </a:lnTo>
                    <a:lnTo>
                      <a:pt x="181" y="100"/>
                    </a:lnTo>
                    <a:lnTo>
                      <a:pt x="181" y="100"/>
                    </a:lnTo>
                    <a:lnTo>
                      <a:pt x="181" y="100"/>
                    </a:lnTo>
                    <a:lnTo>
                      <a:pt x="182" y="100"/>
                    </a:lnTo>
                    <a:lnTo>
                      <a:pt x="182" y="100"/>
                    </a:lnTo>
                    <a:lnTo>
                      <a:pt x="182" y="101"/>
                    </a:lnTo>
                    <a:lnTo>
                      <a:pt x="182" y="101"/>
                    </a:lnTo>
                    <a:lnTo>
                      <a:pt x="182" y="102"/>
                    </a:lnTo>
                    <a:lnTo>
                      <a:pt x="182" y="102"/>
                    </a:lnTo>
                    <a:lnTo>
                      <a:pt x="182" y="102"/>
                    </a:lnTo>
                    <a:lnTo>
                      <a:pt x="182" y="103"/>
                    </a:lnTo>
                    <a:lnTo>
                      <a:pt x="182" y="103"/>
                    </a:lnTo>
                    <a:lnTo>
                      <a:pt x="182" y="103"/>
                    </a:lnTo>
                    <a:lnTo>
                      <a:pt x="183" y="103"/>
                    </a:lnTo>
                    <a:lnTo>
                      <a:pt x="183" y="103"/>
                    </a:lnTo>
                    <a:lnTo>
                      <a:pt x="183" y="104"/>
                    </a:lnTo>
                    <a:lnTo>
                      <a:pt x="184" y="104"/>
                    </a:lnTo>
                    <a:lnTo>
                      <a:pt x="184" y="104"/>
                    </a:lnTo>
                    <a:lnTo>
                      <a:pt x="184" y="104"/>
                    </a:lnTo>
                    <a:lnTo>
                      <a:pt x="184" y="105"/>
                    </a:lnTo>
                    <a:lnTo>
                      <a:pt x="184" y="105"/>
                    </a:lnTo>
                    <a:lnTo>
                      <a:pt x="184" y="106"/>
                    </a:lnTo>
                    <a:lnTo>
                      <a:pt x="184" y="106"/>
                    </a:lnTo>
                    <a:lnTo>
                      <a:pt x="184" y="106"/>
                    </a:lnTo>
                    <a:lnTo>
                      <a:pt x="184" y="107"/>
                    </a:lnTo>
                    <a:lnTo>
                      <a:pt x="184" y="107"/>
                    </a:lnTo>
                    <a:lnTo>
                      <a:pt x="185" y="107"/>
                    </a:lnTo>
                    <a:lnTo>
                      <a:pt x="185" y="107"/>
                    </a:lnTo>
                    <a:lnTo>
                      <a:pt x="186" y="107"/>
                    </a:lnTo>
                    <a:lnTo>
                      <a:pt x="186" y="109"/>
                    </a:lnTo>
                    <a:lnTo>
                      <a:pt x="186" y="111"/>
                    </a:lnTo>
                    <a:lnTo>
                      <a:pt x="186" y="113"/>
                    </a:lnTo>
                    <a:lnTo>
                      <a:pt x="186" y="115"/>
                    </a:lnTo>
                    <a:lnTo>
                      <a:pt x="185" y="115"/>
                    </a:lnTo>
                    <a:lnTo>
                      <a:pt x="184" y="116"/>
                    </a:lnTo>
                    <a:lnTo>
                      <a:pt x="184" y="116"/>
                    </a:lnTo>
                    <a:lnTo>
                      <a:pt x="183" y="116"/>
                    </a:lnTo>
                    <a:lnTo>
                      <a:pt x="183" y="117"/>
                    </a:lnTo>
                    <a:lnTo>
                      <a:pt x="183" y="117"/>
                    </a:lnTo>
                    <a:lnTo>
                      <a:pt x="183" y="118"/>
                    </a:lnTo>
                    <a:lnTo>
                      <a:pt x="182" y="119"/>
                    </a:lnTo>
                    <a:lnTo>
                      <a:pt x="181" y="119"/>
                    </a:lnTo>
                    <a:lnTo>
                      <a:pt x="180" y="119"/>
                    </a:lnTo>
                    <a:lnTo>
                      <a:pt x="179" y="119"/>
                    </a:lnTo>
                    <a:lnTo>
                      <a:pt x="179" y="119"/>
                    </a:lnTo>
                    <a:lnTo>
                      <a:pt x="179" y="119"/>
                    </a:lnTo>
                    <a:lnTo>
                      <a:pt x="178" y="119"/>
                    </a:lnTo>
                    <a:lnTo>
                      <a:pt x="178" y="119"/>
                    </a:lnTo>
                    <a:lnTo>
                      <a:pt x="178" y="119"/>
                    </a:lnTo>
                    <a:lnTo>
                      <a:pt x="177" y="119"/>
                    </a:lnTo>
                    <a:lnTo>
                      <a:pt x="177" y="119"/>
                    </a:lnTo>
                    <a:lnTo>
                      <a:pt x="177" y="119"/>
                    </a:lnTo>
                    <a:lnTo>
                      <a:pt x="177" y="120"/>
                    </a:lnTo>
                    <a:lnTo>
                      <a:pt x="177" y="120"/>
                    </a:lnTo>
                    <a:lnTo>
                      <a:pt x="177" y="121"/>
                    </a:lnTo>
                    <a:lnTo>
                      <a:pt x="177" y="121"/>
                    </a:lnTo>
                    <a:lnTo>
                      <a:pt x="176" y="122"/>
                    </a:lnTo>
                    <a:lnTo>
                      <a:pt x="176" y="122"/>
                    </a:lnTo>
                    <a:lnTo>
                      <a:pt x="175" y="123"/>
                    </a:lnTo>
                    <a:lnTo>
                      <a:pt x="175" y="123"/>
                    </a:lnTo>
                    <a:lnTo>
                      <a:pt x="174" y="124"/>
                    </a:lnTo>
                    <a:lnTo>
                      <a:pt x="174" y="125"/>
                    </a:lnTo>
                    <a:lnTo>
                      <a:pt x="174" y="125"/>
                    </a:lnTo>
                    <a:lnTo>
                      <a:pt x="174" y="125"/>
                    </a:lnTo>
                    <a:lnTo>
                      <a:pt x="173" y="125"/>
                    </a:lnTo>
                    <a:lnTo>
                      <a:pt x="173" y="125"/>
                    </a:lnTo>
                    <a:lnTo>
                      <a:pt x="173" y="125"/>
                    </a:lnTo>
                    <a:lnTo>
                      <a:pt x="172" y="125"/>
                    </a:lnTo>
                    <a:lnTo>
                      <a:pt x="172" y="125"/>
                    </a:lnTo>
                    <a:lnTo>
                      <a:pt x="171" y="125"/>
                    </a:lnTo>
                    <a:lnTo>
                      <a:pt x="171" y="125"/>
                    </a:lnTo>
                    <a:lnTo>
                      <a:pt x="170" y="125"/>
                    </a:lnTo>
                    <a:lnTo>
                      <a:pt x="170" y="124"/>
                    </a:lnTo>
                    <a:lnTo>
                      <a:pt x="169" y="124"/>
                    </a:lnTo>
                    <a:lnTo>
                      <a:pt x="169" y="124"/>
                    </a:lnTo>
                    <a:lnTo>
                      <a:pt x="169" y="123"/>
                    </a:lnTo>
                    <a:lnTo>
                      <a:pt x="169" y="123"/>
                    </a:lnTo>
                    <a:lnTo>
                      <a:pt x="168" y="123"/>
                    </a:lnTo>
                    <a:lnTo>
                      <a:pt x="168" y="122"/>
                    </a:lnTo>
                    <a:lnTo>
                      <a:pt x="168" y="122"/>
                    </a:lnTo>
                    <a:lnTo>
                      <a:pt x="167" y="122"/>
                    </a:lnTo>
                    <a:lnTo>
                      <a:pt x="166" y="122"/>
                    </a:lnTo>
                    <a:lnTo>
                      <a:pt x="165" y="122"/>
                    </a:lnTo>
                    <a:lnTo>
                      <a:pt x="164" y="122"/>
                    </a:lnTo>
                    <a:lnTo>
                      <a:pt x="163" y="122"/>
                    </a:lnTo>
                    <a:lnTo>
                      <a:pt x="163" y="122"/>
                    </a:lnTo>
                    <a:lnTo>
                      <a:pt x="163" y="122"/>
                    </a:lnTo>
                    <a:lnTo>
                      <a:pt x="162" y="122"/>
                    </a:lnTo>
                    <a:lnTo>
                      <a:pt x="162" y="122"/>
                    </a:lnTo>
                    <a:lnTo>
                      <a:pt x="162" y="123"/>
                    </a:lnTo>
                    <a:lnTo>
                      <a:pt x="162" y="123"/>
                    </a:lnTo>
                    <a:lnTo>
                      <a:pt x="162" y="124"/>
                    </a:lnTo>
                    <a:lnTo>
                      <a:pt x="161" y="124"/>
                    </a:lnTo>
                    <a:lnTo>
                      <a:pt x="160" y="124"/>
                    </a:lnTo>
                    <a:lnTo>
                      <a:pt x="160" y="124"/>
                    </a:lnTo>
                    <a:lnTo>
                      <a:pt x="159" y="124"/>
                    </a:lnTo>
                    <a:lnTo>
                      <a:pt x="158" y="123"/>
                    </a:lnTo>
                    <a:lnTo>
                      <a:pt x="158" y="123"/>
                    </a:lnTo>
                    <a:lnTo>
                      <a:pt x="158" y="124"/>
                    </a:lnTo>
                    <a:lnTo>
                      <a:pt x="157" y="124"/>
                    </a:lnTo>
                    <a:lnTo>
                      <a:pt x="157" y="124"/>
                    </a:lnTo>
                    <a:lnTo>
                      <a:pt x="157" y="124"/>
                    </a:lnTo>
                    <a:lnTo>
                      <a:pt x="157" y="125"/>
                    </a:lnTo>
                    <a:lnTo>
                      <a:pt x="157" y="125"/>
                    </a:lnTo>
                    <a:lnTo>
                      <a:pt x="156" y="125"/>
                    </a:lnTo>
                    <a:lnTo>
                      <a:pt x="155" y="125"/>
                    </a:lnTo>
                    <a:lnTo>
                      <a:pt x="155" y="125"/>
                    </a:lnTo>
                    <a:lnTo>
                      <a:pt x="154" y="125"/>
                    </a:lnTo>
                    <a:lnTo>
                      <a:pt x="154" y="125"/>
                    </a:lnTo>
                    <a:lnTo>
                      <a:pt x="153" y="125"/>
                    </a:lnTo>
                    <a:lnTo>
                      <a:pt x="152" y="125"/>
                    </a:lnTo>
                    <a:lnTo>
                      <a:pt x="151" y="125"/>
                    </a:lnTo>
                    <a:lnTo>
                      <a:pt x="151" y="125"/>
                    </a:lnTo>
                    <a:lnTo>
                      <a:pt x="149" y="125"/>
                    </a:lnTo>
                    <a:lnTo>
                      <a:pt x="148" y="126"/>
                    </a:lnTo>
                    <a:lnTo>
                      <a:pt x="147" y="126"/>
                    </a:lnTo>
                    <a:lnTo>
                      <a:pt x="146" y="125"/>
                    </a:lnTo>
                    <a:lnTo>
                      <a:pt x="145" y="125"/>
                    </a:lnTo>
                    <a:lnTo>
                      <a:pt x="144" y="125"/>
                    </a:lnTo>
                    <a:lnTo>
                      <a:pt x="143" y="125"/>
                    </a:lnTo>
                    <a:lnTo>
                      <a:pt x="142" y="124"/>
                    </a:lnTo>
                    <a:lnTo>
                      <a:pt x="141" y="124"/>
                    </a:lnTo>
                    <a:lnTo>
                      <a:pt x="139" y="123"/>
                    </a:lnTo>
                    <a:lnTo>
                      <a:pt x="138" y="123"/>
                    </a:lnTo>
                    <a:lnTo>
                      <a:pt x="137" y="122"/>
                    </a:lnTo>
                    <a:lnTo>
                      <a:pt x="137" y="122"/>
                    </a:lnTo>
                    <a:lnTo>
                      <a:pt x="136" y="122"/>
                    </a:lnTo>
                    <a:lnTo>
                      <a:pt x="135" y="122"/>
                    </a:lnTo>
                    <a:lnTo>
                      <a:pt x="135" y="122"/>
                    </a:lnTo>
                    <a:lnTo>
                      <a:pt x="134" y="122"/>
                    </a:lnTo>
                    <a:lnTo>
                      <a:pt x="134" y="122"/>
                    </a:lnTo>
                    <a:lnTo>
                      <a:pt x="133" y="123"/>
                    </a:lnTo>
                    <a:lnTo>
                      <a:pt x="133" y="124"/>
                    </a:lnTo>
                    <a:lnTo>
                      <a:pt x="132" y="124"/>
                    </a:lnTo>
                    <a:lnTo>
                      <a:pt x="132" y="125"/>
                    </a:lnTo>
                    <a:lnTo>
                      <a:pt x="132" y="126"/>
                    </a:lnTo>
                    <a:lnTo>
                      <a:pt x="132" y="127"/>
                    </a:lnTo>
                    <a:lnTo>
                      <a:pt x="132" y="129"/>
                    </a:lnTo>
                    <a:lnTo>
                      <a:pt x="132" y="130"/>
                    </a:lnTo>
                    <a:lnTo>
                      <a:pt x="132" y="132"/>
                    </a:lnTo>
                    <a:lnTo>
                      <a:pt x="132" y="134"/>
                    </a:lnTo>
                    <a:lnTo>
                      <a:pt x="132" y="135"/>
                    </a:lnTo>
                    <a:lnTo>
                      <a:pt x="132" y="136"/>
                    </a:lnTo>
                    <a:lnTo>
                      <a:pt x="132" y="137"/>
                    </a:lnTo>
                    <a:lnTo>
                      <a:pt x="132" y="137"/>
                    </a:lnTo>
                    <a:lnTo>
                      <a:pt x="132" y="137"/>
                    </a:lnTo>
                    <a:lnTo>
                      <a:pt x="131" y="137"/>
                    </a:lnTo>
                    <a:lnTo>
                      <a:pt x="131" y="138"/>
                    </a:lnTo>
                    <a:lnTo>
                      <a:pt x="131" y="138"/>
                    </a:lnTo>
                    <a:lnTo>
                      <a:pt x="131" y="139"/>
                    </a:lnTo>
                    <a:lnTo>
                      <a:pt x="131" y="139"/>
                    </a:lnTo>
                    <a:lnTo>
                      <a:pt x="131" y="140"/>
                    </a:lnTo>
                    <a:lnTo>
                      <a:pt x="131" y="140"/>
                    </a:lnTo>
                    <a:lnTo>
                      <a:pt x="131" y="144"/>
                    </a:lnTo>
                    <a:lnTo>
                      <a:pt x="131" y="149"/>
                    </a:lnTo>
                    <a:lnTo>
                      <a:pt x="131" y="153"/>
                    </a:lnTo>
                    <a:lnTo>
                      <a:pt x="131" y="157"/>
                    </a:lnTo>
                    <a:lnTo>
                      <a:pt x="130" y="157"/>
                    </a:lnTo>
                    <a:lnTo>
                      <a:pt x="130" y="157"/>
                    </a:lnTo>
                    <a:lnTo>
                      <a:pt x="130" y="157"/>
                    </a:lnTo>
                    <a:lnTo>
                      <a:pt x="129" y="158"/>
                    </a:lnTo>
                    <a:lnTo>
                      <a:pt x="129" y="158"/>
                    </a:lnTo>
                    <a:lnTo>
                      <a:pt x="129" y="159"/>
                    </a:lnTo>
                    <a:lnTo>
                      <a:pt x="129" y="159"/>
                    </a:lnTo>
                    <a:lnTo>
                      <a:pt x="129" y="160"/>
                    </a:lnTo>
                    <a:lnTo>
                      <a:pt x="129" y="160"/>
                    </a:lnTo>
                    <a:lnTo>
                      <a:pt x="129" y="162"/>
                    </a:lnTo>
                    <a:lnTo>
                      <a:pt x="129" y="163"/>
                    </a:lnTo>
                    <a:lnTo>
                      <a:pt x="129" y="166"/>
                    </a:lnTo>
                    <a:lnTo>
                      <a:pt x="129" y="169"/>
                    </a:lnTo>
                    <a:lnTo>
                      <a:pt x="129" y="170"/>
                    </a:lnTo>
                    <a:lnTo>
                      <a:pt x="129" y="172"/>
                    </a:lnTo>
                    <a:lnTo>
                      <a:pt x="128" y="172"/>
                    </a:lnTo>
                    <a:lnTo>
                      <a:pt x="127" y="172"/>
                    </a:lnTo>
                    <a:lnTo>
                      <a:pt x="126" y="171"/>
                    </a:lnTo>
                    <a:lnTo>
                      <a:pt x="125" y="171"/>
                    </a:lnTo>
                    <a:lnTo>
                      <a:pt x="125" y="170"/>
                    </a:lnTo>
                    <a:lnTo>
                      <a:pt x="125" y="170"/>
                    </a:lnTo>
                    <a:lnTo>
                      <a:pt x="124" y="169"/>
                    </a:lnTo>
                    <a:lnTo>
                      <a:pt x="124" y="169"/>
                    </a:lnTo>
                    <a:lnTo>
                      <a:pt x="124" y="168"/>
                    </a:lnTo>
                    <a:lnTo>
                      <a:pt x="124" y="168"/>
                    </a:lnTo>
                    <a:lnTo>
                      <a:pt x="124" y="167"/>
                    </a:lnTo>
                    <a:lnTo>
                      <a:pt x="123" y="167"/>
                    </a:lnTo>
                    <a:lnTo>
                      <a:pt x="123" y="167"/>
                    </a:lnTo>
                    <a:lnTo>
                      <a:pt x="123" y="167"/>
                    </a:lnTo>
                    <a:lnTo>
                      <a:pt x="122" y="167"/>
                    </a:lnTo>
                    <a:lnTo>
                      <a:pt x="122" y="167"/>
                    </a:lnTo>
                    <a:lnTo>
                      <a:pt x="120" y="164"/>
                    </a:lnTo>
                    <a:lnTo>
                      <a:pt x="118" y="162"/>
                    </a:lnTo>
                    <a:lnTo>
                      <a:pt x="116" y="159"/>
                    </a:lnTo>
                    <a:lnTo>
                      <a:pt x="114" y="156"/>
                    </a:lnTo>
                    <a:lnTo>
                      <a:pt x="112" y="153"/>
                    </a:lnTo>
                    <a:lnTo>
                      <a:pt x="110" y="150"/>
                    </a:lnTo>
                    <a:lnTo>
                      <a:pt x="109" y="148"/>
                    </a:lnTo>
                    <a:lnTo>
                      <a:pt x="109" y="147"/>
                    </a:lnTo>
                    <a:lnTo>
                      <a:pt x="108" y="145"/>
                    </a:lnTo>
                    <a:lnTo>
                      <a:pt x="107" y="144"/>
                    </a:lnTo>
                    <a:lnTo>
                      <a:pt x="106" y="144"/>
                    </a:lnTo>
                    <a:lnTo>
                      <a:pt x="105" y="144"/>
                    </a:lnTo>
                    <a:lnTo>
                      <a:pt x="104" y="145"/>
                    </a:lnTo>
                    <a:lnTo>
                      <a:pt x="103" y="145"/>
                    </a:lnTo>
                    <a:lnTo>
                      <a:pt x="102" y="145"/>
                    </a:lnTo>
                    <a:lnTo>
                      <a:pt x="101" y="145"/>
                    </a:lnTo>
                    <a:lnTo>
                      <a:pt x="100" y="146"/>
                    </a:lnTo>
                    <a:lnTo>
                      <a:pt x="99" y="146"/>
                    </a:lnTo>
                    <a:lnTo>
                      <a:pt x="97" y="146"/>
                    </a:lnTo>
                    <a:lnTo>
                      <a:pt x="95" y="146"/>
                    </a:lnTo>
                    <a:lnTo>
                      <a:pt x="93" y="146"/>
                    </a:lnTo>
                    <a:lnTo>
                      <a:pt x="90" y="145"/>
                    </a:lnTo>
                    <a:lnTo>
                      <a:pt x="88" y="145"/>
                    </a:lnTo>
                    <a:lnTo>
                      <a:pt x="86" y="144"/>
                    </a:lnTo>
                    <a:lnTo>
                      <a:pt x="84" y="144"/>
                    </a:lnTo>
                    <a:lnTo>
                      <a:pt x="82" y="143"/>
                    </a:lnTo>
                    <a:lnTo>
                      <a:pt x="80" y="143"/>
                    </a:lnTo>
                    <a:lnTo>
                      <a:pt x="78" y="142"/>
                    </a:lnTo>
                    <a:lnTo>
                      <a:pt x="74" y="140"/>
                    </a:lnTo>
                    <a:lnTo>
                      <a:pt x="73" y="140"/>
                    </a:lnTo>
                    <a:lnTo>
                      <a:pt x="72" y="140"/>
                    </a:lnTo>
                    <a:lnTo>
                      <a:pt x="71" y="140"/>
                    </a:lnTo>
                    <a:lnTo>
                      <a:pt x="71" y="140"/>
                    </a:lnTo>
                    <a:lnTo>
                      <a:pt x="71" y="140"/>
                    </a:lnTo>
                    <a:lnTo>
                      <a:pt x="70" y="140"/>
                    </a:lnTo>
                    <a:lnTo>
                      <a:pt x="70" y="140"/>
                    </a:lnTo>
                    <a:lnTo>
                      <a:pt x="69" y="140"/>
                    </a:lnTo>
                    <a:lnTo>
                      <a:pt x="69" y="140"/>
                    </a:lnTo>
                    <a:lnTo>
                      <a:pt x="69" y="141"/>
                    </a:lnTo>
                    <a:lnTo>
                      <a:pt x="69" y="141"/>
                    </a:lnTo>
                    <a:lnTo>
                      <a:pt x="69" y="141"/>
                    </a:lnTo>
                    <a:lnTo>
                      <a:pt x="69" y="142"/>
                    </a:lnTo>
                    <a:lnTo>
                      <a:pt x="68" y="142"/>
                    </a:lnTo>
                    <a:lnTo>
                      <a:pt x="67" y="142"/>
                    </a:lnTo>
                    <a:lnTo>
                      <a:pt x="67" y="142"/>
                    </a:lnTo>
                    <a:lnTo>
                      <a:pt x="66" y="142"/>
                    </a:lnTo>
                    <a:lnTo>
                      <a:pt x="65" y="142"/>
                    </a:lnTo>
                    <a:lnTo>
                      <a:pt x="65" y="142"/>
                    </a:lnTo>
                    <a:lnTo>
                      <a:pt x="65" y="142"/>
                    </a:lnTo>
                    <a:lnTo>
                      <a:pt x="64" y="143"/>
                    </a:lnTo>
                    <a:lnTo>
                      <a:pt x="64" y="143"/>
                    </a:lnTo>
                    <a:lnTo>
                      <a:pt x="63" y="143"/>
                    </a:lnTo>
                    <a:lnTo>
                      <a:pt x="63" y="143"/>
                    </a:lnTo>
                    <a:lnTo>
                      <a:pt x="62" y="144"/>
                    </a:lnTo>
                    <a:lnTo>
                      <a:pt x="62" y="144"/>
                    </a:lnTo>
                    <a:lnTo>
                      <a:pt x="61" y="144"/>
                    </a:lnTo>
                    <a:lnTo>
                      <a:pt x="61" y="144"/>
                    </a:lnTo>
                    <a:lnTo>
                      <a:pt x="58" y="143"/>
                    </a:lnTo>
                    <a:lnTo>
                      <a:pt x="55" y="142"/>
                    </a:lnTo>
                    <a:lnTo>
                      <a:pt x="53" y="141"/>
                    </a:lnTo>
                    <a:lnTo>
                      <a:pt x="50" y="140"/>
                    </a:lnTo>
                    <a:lnTo>
                      <a:pt x="47" y="140"/>
                    </a:lnTo>
                    <a:lnTo>
                      <a:pt x="44" y="139"/>
                    </a:lnTo>
                    <a:lnTo>
                      <a:pt x="42" y="138"/>
                    </a:lnTo>
                    <a:lnTo>
                      <a:pt x="40" y="138"/>
                    </a:lnTo>
                    <a:lnTo>
                      <a:pt x="39" y="138"/>
                    </a:lnTo>
                    <a:lnTo>
                      <a:pt x="37" y="138"/>
                    </a:lnTo>
                    <a:lnTo>
                      <a:pt x="36" y="138"/>
                    </a:lnTo>
                    <a:lnTo>
                      <a:pt x="35" y="138"/>
                    </a:lnTo>
                    <a:lnTo>
                      <a:pt x="33" y="138"/>
                    </a:lnTo>
                    <a:lnTo>
                      <a:pt x="32" y="138"/>
                    </a:lnTo>
                    <a:lnTo>
                      <a:pt x="31" y="138"/>
                    </a:lnTo>
                    <a:lnTo>
                      <a:pt x="29" y="138"/>
                    </a:lnTo>
                    <a:lnTo>
                      <a:pt x="28" y="139"/>
                    </a:lnTo>
                    <a:lnTo>
                      <a:pt x="27" y="139"/>
                    </a:lnTo>
                    <a:lnTo>
                      <a:pt x="26" y="139"/>
                    </a:lnTo>
                    <a:lnTo>
                      <a:pt x="25" y="140"/>
                    </a:lnTo>
                    <a:lnTo>
                      <a:pt x="23" y="140"/>
                    </a:lnTo>
                    <a:lnTo>
                      <a:pt x="22" y="141"/>
                    </a:lnTo>
                    <a:lnTo>
                      <a:pt x="21" y="142"/>
                    </a:lnTo>
                    <a:lnTo>
                      <a:pt x="20" y="143"/>
                    </a:lnTo>
                    <a:lnTo>
                      <a:pt x="19" y="144"/>
                    </a:lnTo>
                    <a:lnTo>
                      <a:pt x="18" y="143"/>
                    </a:lnTo>
                    <a:lnTo>
                      <a:pt x="18" y="143"/>
                    </a:lnTo>
                    <a:lnTo>
                      <a:pt x="17" y="143"/>
                    </a:lnTo>
                    <a:lnTo>
                      <a:pt x="16" y="143"/>
                    </a:lnTo>
                    <a:lnTo>
                      <a:pt x="15" y="143"/>
                    </a:lnTo>
                    <a:lnTo>
                      <a:pt x="14" y="143"/>
                    </a:lnTo>
                    <a:lnTo>
                      <a:pt x="14" y="144"/>
                    </a:lnTo>
                    <a:lnTo>
                      <a:pt x="13" y="144"/>
                    </a:lnTo>
                    <a:lnTo>
                      <a:pt x="12" y="144"/>
                    </a:lnTo>
                    <a:lnTo>
                      <a:pt x="11" y="145"/>
                    </a:lnTo>
                    <a:lnTo>
                      <a:pt x="11" y="146"/>
                    </a:lnTo>
                    <a:lnTo>
                      <a:pt x="10" y="146"/>
                    </a:lnTo>
                    <a:lnTo>
                      <a:pt x="10" y="146"/>
                    </a:lnTo>
                    <a:lnTo>
                      <a:pt x="9" y="147"/>
                    </a:lnTo>
                    <a:lnTo>
                      <a:pt x="8" y="147"/>
                    </a:lnTo>
                    <a:lnTo>
                      <a:pt x="7" y="147"/>
                    </a:lnTo>
                    <a:lnTo>
                      <a:pt x="7" y="137"/>
                    </a:lnTo>
                    <a:lnTo>
                      <a:pt x="7" y="127"/>
                    </a:lnTo>
                    <a:lnTo>
                      <a:pt x="8" y="127"/>
                    </a:lnTo>
                    <a:lnTo>
                      <a:pt x="8" y="127"/>
                    </a:lnTo>
                    <a:lnTo>
                      <a:pt x="8" y="127"/>
                    </a:lnTo>
                    <a:lnTo>
                      <a:pt x="9" y="126"/>
                    </a:lnTo>
                    <a:lnTo>
                      <a:pt x="9" y="126"/>
                    </a:lnTo>
                    <a:lnTo>
                      <a:pt x="9" y="126"/>
                    </a:lnTo>
                    <a:lnTo>
                      <a:pt x="9" y="126"/>
                    </a:lnTo>
                    <a:lnTo>
                      <a:pt x="9" y="125"/>
                    </a:lnTo>
                    <a:lnTo>
                      <a:pt x="10" y="125"/>
                    </a:lnTo>
                    <a:lnTo>
                      <a:pt x="11" y="125"/>
                    </a:lnTo>
                    <a:lnTo>
                      <a:pt x="12" y="125"/>
                    </a:lnTo>
                    <a:lnTo>
                      <a:pt x="12" y="124"/>
                    </a:lnTo>
                    <a:lnTo>
                      <a:pt x="13" y="124"/>
                    </a:lnTo>
                    <a:lnTo>
                      <a:pt x="13" y="123"/>
                    </a:lnTo>
                    <a:lnTo>
                      <a:pt x="14" y="123"/>
                    </a:lnTo>
                    <a:lnTo>
                      <a:pt x="14" y="122"/>
                    </a:lnTo>
                    <a:lnTo>
                      <a:pt x="14" y="121"/>
                    </a:lnTo>
                    <a:lnTo>
                      <a:pt x="14" y="120"/>
                    </a:lnTo>
                    <a:lnTo>
                      <a:pt x="13" y="119"/>
                    </a:lnTo>
                    <a:lnTo>
                      <a:pt x="13" y="118"/>
                    </a:lnTo>
                    <a:lnTo>
                      <a:pt x="12" y="117"/>
                    </a:lnTo>
                    <a:lnTo>
                      <a:pt x="11" y="117"/>
                    </a:lnTo>
                    <a:lnTo>
                      <a:pt x="11" y="116"/>
                    </a:lnTo>
                    <a:lnTo>
                      <a:pt x="10" y="115"/>
                    </a:lnTo>
                    <a:lnTo>
                      <a:pt x="9" y="114"/>
                    </a:lnTo>
                    <a:lnTo>
                      <a:pt x="8" y="114"/>
                    </a:lnTo>
                    <a:lnTo>
                      <a:pt x="8" y="113"/>
                    </a:lnTo>
                    <a:lnTo>
                      <a:pt x="7" y="113"/>
                    </a:lnTo>
                    <a:lnTo>
                      <a:pt x="6" y="112"/>
                    </a:lnTo>
                    <a:lnTo>
                      <a:pt x="6" y="111"/>
                    </a:lnTo>
                    <a:lnTo>
                      <a:pt x="6" y="110"/>
                    </a:lnTo>
                    <a:lnTo>
                      <a:pt x="6" y="109"/>
                    </a:lnTo>
                    <a:lnTo>
                      <a:pt x="6" y="109"/>
                    </a:lnTo>
                    <a:lnTo>
                      <a:pt x="6" y="108"/>
                    </a:lnTo>
                    <a:lnTo>
                      <a:pt x="6" y="107"/>
                    </a:lnTo>
                    <a:lnTo>
                      <a:pt x="7" y="107"/>
                    </a:lnTo>
                    <a:lnTo>
                      <a:pt x="7" y="106"/>
                    </a:lnTo>
                    <a:lnTo>
                      <a:pt x="8" y="105"/>
                    </a:lnTo>
                    <a:lnTo>
                      <a:pt x="8" y="105"/>
                    </a:lnTo>
                    <a:lnTo>
                      <a:pt x="8" y="104"/>
                    </a:lnTo>
                    <a:lnTo>
                      <a:pt x="9" y="103"/>
                    </a:lnTo>
                    <a:lnTo>
                      <a:pt x="9" y="103"/>
                    </a:lnTo>
                    <a:lnTo>
                      <a:pt x="9" y="102"/>
                    </a:lnTo>
                    <a:lnTo>
                      <a:pt x="9" y="101"/>
                    </a:lnTo>
                    <a:lnTo>
                      <a:pt x="9" y="100"/>
                    </a:lnTo>
                    <a:lnTo>
                      <a:pt x="9" y="99"/>
                    </a:lnTo>
                    <a:lnTo>
                      <a:pt x="9" y="99"/>
                    </a:lnTo>
                    <a:lnTo>
                      <a:pt x="9" y="99"/>
                    </a:lnTo>
                    <a:lnTo>
                      <a:pt x="9" y="98"/>
                    </a:lnTo>
                    <a:lnTo>
                      <a:pt x="10" y="98"/>
                    </a:lnTo>
                    <a:lnTo>
                      <a:pt x="10" y="98"/>
                    </a:lnTo>
                    <a:lnTo>
                      <a:pt x="10" y="98"/>
                    </a:lnTo>
                    <a:lnTo>
                      <a:pt x="10" y="98"/>
                    </a:lnTo>
                    <a:lnTo>
                      <a:pt x="10" y="98"/>
                    </a:lnTo>
                    <a:lnTo>
                      <a:pt x="10" y="97"/>
                    </a:lnTo>
                    <a:lnTo>
                      <a:pt x="9" y="97"/>
                    </a:lnTo>
                    <a:lnTo>
                      <a:pt x="9" y="97"/>
                    </a:lnTo>
                    <a:lnTo>
                      <a:pt x="9" y="97"/>
                    </a:lnTo>
                    <a:lnTo>
                      <a:pt x="8" y="96"/>
                    </a:lnTo>
                    <a:lnTo>
                      <a:pt x="8" y="95"/>
                    </a:lnTo>
                    <a:lnTo>
                      <a:pt x="8" y="94"/>
                    </a:lnTo>
                    <a:lnTo>
                      <a:pt x="7" y="93"/>
                    </a:lnTo>
                    <a:lnTo>
                      <a:pt x="7" y="92"/>
                    </a:lnTo>
                    <a:lnTo>
                      <a:pt x="7" y="91"/>
                    </a:lnTo>
                    <a:lnTo>
                      <a:pt x="6" y="90"/>
                    </a:lnTo>
                    <a:lnTo>
                      <a:pt x="6" y="90"/>
                    </a:lnTo>
                    <a:lnTo>
                      <a:pt x="6" y="88"/>
                    </a:lnTo>
                    <a:lnTo>
                      <a:pt x="6" y="86"/>
                    </a:lnTo>
                    <a:lnTo>
                      <a:pt x="6" y="84"/>
                    </a:lnTo>
                    <a:lnTo>
                      <a:pt x="6" y="82"/>
                    </a:lnTo>
                    <a:lnTo>
                      <a:pt x="6" y="80"/>
                    </a:lnTo>
                    <a:lnTo>
                      <a:pt x="6" y="78"/>
                    </a:lnTo>
                    <a:lnTo>
                      <a:pt x="6" y="77"/>
                    </a:lnTo>
                    <a:lnTo>
                      <a:pt x="6" y="76"/>
                    </a:lnTo>
                    <a:lnTo>
                      <a:pt x="5" y="75"/>
                    </a:lnTo>
                    <a:lnTo>
                      <a:pt x="5" y="74"/>
                    </a:lnTo>
                    <a:lnTo>
                      <a:pt x="5" y="74"/>
                    </a:lnTo>
                    <a:lnTo>
                      <a:pt x="4" y="73"/>
                    </a:lnTo>
                    <a:lnTo>
                      <a:pt x="4" y="72"/>
                    </a:lnTo>
                    <a:lnTo>
                      <a:pt x="4" y="71"/>
                    </a:lnTo>
                    <a:lnTo>
                      <a:pt x="3" y="71"/>
                    </a:lnTo>
                    <a:lnTo>
                      <a:pt x="2" y="70"/>
                    </a:lnTo>
                    <a:lnTo>
                      <a:pt x="1" y="69"/>
                    </a:lnTo>
                    <a:lnTo>
                      <a:pt x="1" y="69"/>
                    </a:lnTo>
                    <a:lnTo>
                      <a:pt x="0" y="68"/>
                    </a:lnTo>
                    <a:lnTo>
                      <a:pt x="0" y="67"/>
                    </a:lnTo>
                    <a:lnTo>
                      <a:pt x="0" y="67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5"/>
                    </a:lnTo>
                    <a:lnTo>
                      <a:pt x="0" y="65"/>
                    </a:lnTo>
                    <a:lnTo>
                      <a:pt x="1" y="65"/>
                    </a:lnTo>
                    <a:lnTo>
                      <a:pt x="1" y="64"/>
                    </a:lnTo>
                    <a:lnTo>
                      <a:pt x="2" y="64"/>
                    </a:lnTo>
                    <a:lnTo>
                      <a:pt x="2" y="63"/>
                    </a:lnTo>
                    <a:lnTo>
                      <a:pt x="3" y="63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1"/>
                    </a:lnTo>
                    <a:lnTo>
                      <a:pt x="5" y="61"/>
                    </a:lnTo>
                    <a:lnTo>
                      <a:pt x="5" y="59"/>
                    </a:lnTo>
                    <a:lnTo>
                      <a:pt x="6" y="58"/>
                    </a:lnTo>
                    <a:lnTo>
                      <a:pt x="7" y="56"/>
                    </a:lnTo>
                    <a:lnTo>
                      <a:pt x="7" y="55"/>
                    </a:lnTo>
                    <a:lnTo>
                      <a:pt x="8" y="55"/>
                    </a:lnTo>
                    <a:lnTo>
                      <a:pt x="8" y="54"/>
                    </a:lnTo>
                    <a:lnTo>
                      <a:pt x="9" y="54"/>
                    </a:lnTo>
                    <a:lnTo>
                      <a:pt x="9" y="53"/>
                    </a:lnTo>
                    <a:lnTo>
                      <a:pt x="10" y="52"/>
                    </a:lnTo>
                    <a:lnTo>
                      <a:pt x="11" y="52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defTabSz="914308">
                  <a:defRPr/>
                </a:pPr>
                <a:endParaRPr lang="en-US" sz="9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03" name="Freeform 7"/>
              <p:cNvSpPr>
                <a:spLocks/>
              </p:cNvSpPr>
              <p:nvPr/>
            </p:nvSpPr>
            <p:spPr bwMode="auto">
              <a:xfrm>
                <a:off x="1088669" y="2725961"/>
                <a:ext cx="1616638" cy="1470029"/>
              </a:xfrm>
              <a:custGeom>
                <a:avLst/>
                <a:gdLst/>
                <a:ahLst/>
                <a:cxnLst>
                  <a:cxn ang="0">
                    <a:pos x="29" y="12"/>
                  </a:cxn>
                  <a:cxn ang="0">
                    <a:pos x="28" y="0"/>
                  </a:cxn>
                  <a:cxn ang="0">
                    <a:pos x="38" y="4"/>
                  </a:cxn>
                  <a:cxn ang="0">
                    <a:pos x="48" y="16"/>
                  </a:cxn>
                  <a:cxn ang="0">
                    <a:pos x="58" y="12"/>
                  </a:cxn>
                  <a:cxn ang="0">
                    <a:pos x="65" y="7"/>
                  </a:cxn>
                  <a:cxn ang="0">
                    <a:pos x="71" y="3"/>
                  </a:cxn>
                  <a:cxn ang="0">
                    <a:pos x="75" y="5"/>
                  </a:cxn>
                  <a:cxn ang="0">
                    <a:pos x="81" y="7"/>
                  </a:cxn>
                  <a:cxn ang="0">
                    <a:pos x="87" y="11"/>
                  </a:cxn>
                  <a:cxn ang="0">
                    <a:pos x="98" y="6"/>
                  </a:cxn>
                  <a:cxn ang="0">
                    <a:pos x="109" y="18"/>
                  </a:cxn>
                  <a:cxn ang="0">
                    <a:pos x="119" y="23"/>
                  </a:cxn>
                  <a:cxn ang="0">
                    <a:pos x="130" y="27"/>
                  </a:cxn>
                  <a:cxn ang="0">
                    <a:pos x="134" y="19"/>
                  </a:cxn>
                  <a:cxn ang="0">
                    <a:pos x="138" y="22"/>
                  </a:cxn>
                  <a:cxn ang="0">
                    <a:pos x="153" y="23"/>
                  </a:cxn>
                  <a:cxn ang="0">
                    <a:pos x="165" y="16"/>
                  </a:cxn>
                  <a:cxn ang="0">
                    <a:pos x="173" y="3"/>
                  </a:cxn>
                  <a:cxn ang="0">
                    <a:pos x="187" y="25"/>
                  </a:cxn>
                  <a:cxn ang="0">
                    <a:pos x="194" y="49"/>
                  </a:cxn>
                  <a:cxn ang="0">
                    <a:pos x="189" y="60"/>
                  </a:cxn>
                  <a:cxn ang="0">
                    <a:pos x="183" y="65"/>
                  </a:cxn>
                  <a:cxn ang="0">
                    <a:pos x="181" y="75"/>
                  </a:cxn>
                  <a:cxn ang="0">
                    <a:pos x="186" y="79"/>
                  </a:cxn>
                  <a:cxn ang="0">
                    <a:pos x="192" y="80"/>
                  </a:cxn>
                  <a:cxn ang="0">
                    <a:pos x="198" y="89"/>
                  </a:cxn>
                  <a:cxn ang="0">
                    <a:pos x="210" y="100"/>
                  </a:cxn>
                  <a:cxn ang="0">
                    <a:pos x="213" y="105"/>
                  </a:cxn>
                  <a:cxn ang="0">
                    <a:pos x="215" y="113"/>
                  </a:cxn>
                  <a:cxn ang="0">
                    <a:pos x="213" y="123"/>
                  </a:cxn>
                  <a:cxn ang="0">
                    <a:pos x="196" y="134"/>
                  </a:cxn>
                  <a:cxn ang="0">
                    <a:pos x="188" y="141"/>
                  </a:cxn>
                  <a:cxn ang="0">
                    <a:pos x="179" y="135"/>
                  </a:cxn>
                  <a:cxn ang="0">
                    <a:pos x="167" y="120"/>
                  </a:cxn>
                  <a:cxn ang="0">
                    <a:pos x="155" y="117"/>
                  </a:cxn>
                  <a:cxn ang="0">
                    <a:pos x="146" y="131"/>
                  </a:cxn>
                  <a:cxn ang="0">
                    <a:pos x="139" y="136"/>
                  </a:cxn>
                  <a:cxn ang="0">
                    <a:pos x="132" y="137"/>
                  </a:cxn>
                  <a:cxn ang="0">
                    <a:pos x="116" y="151"/>
                  </a:cxn>
                  <a:cxn ang="0">
                    <a:pos x="105" y="163"/>
                  </a:cxn>
                  <a:cxn ang="0">
                    <a:pos x="94" y="170"/>
                  </a:cxn>
                  <a:cxn ang="0">
                    <a:pos x="89" y="176"/>
                  </a:cxn>
                  <a:cxn ang="0">
                    <a:pos x="63" y="180"/>
                  </a:cxn>
                  <a:cxn ang="0">
                    <a:pos x="43" y="178"/>
                  </a:cxn>
                  <a:cxn ang="0">
                    <a:pos x="43" y="158"/>
                  </a:cxn>
                  <a:cxn ang="0">
                    <a:pos x="45" y="147"/>
                  </a:cxn>
                  <a:cxn ang="0">
                    <a:pos x="36" y="135"/>
                  </a:cxn>
                  <a:cxn ang="0">
                    <a:pos x="23" y="123"/>
                  </a:cxn>
                  <a:cxn ang="0">
                    <a:pos x="24" y="104"/>
                  </a:cxn>
                  <a:cxn ang="0">
                    <a:pos x="29" y="97"/>
                  </a:cxn>
                  <a:cxn ang="0">
                    <a:pos x="25" y="91"/>
                  </a:cxn>
                  <a:cxn ang="0">
                    <a:pos x="25" y="79"/>
                  </a:cxn>
                  <a:cxn ang="0">
                    <a:pos x="26" y="67"/>
                  </a:cxn>
                  <a:cxn ang="0">
                    <a:pos x="16" y="65"/>
                  </a:cxn>
                  <a:cxn ang="0">
                    <a:pos x="10" y="60"/>
                  </a:cxn>
                  <a:cxn ang="0">
                    <a:pos x="2" y="52"/>
                  </a:cxn>
                  <a:cxn ang="0">
                    <a:pos x="1" y="46"/>
                  </a:cxn>
                  <a:cxn ang="0">
                    <a:pos x="10" y="38"/>
                  </a:cxn>
                  <a:cxn ang="0">
                    <a:pos x="25" y="27"/>
                  </a:cxn>
                  <a:cxn ang="0">
                    <a:pos x="24" y="18"/>
                  </a:cxn>
                </a:cxnLst>
                <a:rect l="0" t="0" r="r" b="b"/>
                <a:pathLst>
                  <a:path w="216" h="183">
                    <a:moveTo>
                      <a:pt x="25" y="16"/>
                    </a:moveTo>
                    <a:lnTo>
                      <a:pt x="26" y="16"/>
                    </a:lnTo>
                    <a:lnTo>
                      <a:pt x="26" y="16"/>
                    </a:lnTo>
                    <a:lnTo>
                      <a:pt x="27" y="16"/>
                    </a:lnTo>
                    <a:lnTo>
                      <a:pt x="27" y="16"/>
                    </a:lnTo>
                    <a:lnTo>
                      <a:pt x="27" y="15"/>
                    </a:lnTo>
                    <a:lnTo>
                      <a:pt x="28" y="15"/>
                    </a:lnTo>
                    <a:lnTo>
                      <a:pt x="29" y="14"/>
                    </a:lnTo>
                    <a:lnTo>
                      <a:pt x="29" y="13"/>
                    </a:lnTo>
                    <a:lnTo>
                      <a:pt x="29" y="12"/>
                    </a:lnTo>
                    <a:lnTo>
                      <a:pt x="30" y="11"/>
                    </a:lnTo>
                    <a:lnTo>
                      <a:pt x="30" y="10"/>
                    </a:lnTo>
                    <a:lnTo>
                      <a:pt x="30" y="8"/>
                    </a:lnTo>
                    <a:lnTo>
                      <a:pt x="30" y="7"/>
                    </a:lnTo>
                    <a:lnTo>
                      <a:pt x="30" y="6"/>
                    </a:lnTo>
                    <a:lnTo>
                      <a:pt x="30" y="4"/>
                    </a:lnTo>
                    <a:lnTo>
                      <a:pt x="29" y="3"/>
                    </a:lnTo>
                    <a:lnTo>
                      <a:pt x="29" y="2"/>
                    </a:lnTo>
                    <a:lnTo>
                      <a:pt x="29" y="1"/>
                    </a:lnTo>
                    <a:lnTo>
                      <a:pt x="28" y="0"/>
                    </a:lnTo>
                    <a:lnTo>
                      <a:pt x="29" y="0"/>
                    </a:lnTo>
                    <a:lnTo>
                      <a:pt x="30" y="0"/>
                    </a:lnTo>
                    <a:lnTo>
                      <a:pt x="31" y="0"/>
                    </a:lnTo>
                    <a:lnTo>
                      <a:pt x="32" y="0"/>
                    </a:lnTo>
                    <a:lnTo>
                      <a:pt x="33" y="1"/>
                    </a:lnTo>
                    <a:lnTo>
                      <a:pt x="34" y="1"/>
                    </a:lnTo>
                    <a:lnTo>
                      <a:pt x="34" y="2"/>
                    </a:lnTo>
                    <a:lnTo>
                      <a:pt x="35" y="2"/>
                    </a:lnTo>
                    <a:lnTo>
                      <a:pt x="36" y="3"/>
                    </a:lnTo>
                    <a:lnTo>
                      <a:pt x="38" y="4"/>
                    </a:lnTo>
                    <a:lnTo>
                      <a:pt x="39" y="5"/>
                    </a:lnTo>
                    <a:lnTo>
                      <a:pt x="39" y="7"/>
                    </a:lnTo>
                    <a:lnTo>
                      <a:pt x="41" y="9"/>
                    </a:lnTo>
                    <a:lnTo>
                      <a:pt x="42" y="11"/>
                    </a:lnTo>
                    <a:lnTo>
                      <a:pt x="43" y="12"/>
                    </a:lnTo>
                    <a:lnTo>
                      <a:pt x="44" y="14"/>
                    </a:lnTo>
                    <a:lnTo>
                      <a:pt x="46" y="15"/>
                    </a:lnTo>
                    <a:lnTo>
                      <a:pt x="46" y="15"/>
                    </a:lnTo>
                    <a:lnTo>
                      <a:pt x="47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50" y="16"/>
                    </a:lnTo>
                    <a:lnTo>
                      <a:pt x="52" y="15"/>
                    </a:lnTo>
                    <a:lnTo>
                      <a:pt x="54" y="14"/>
                    </a:lnTo>
                    <a:lnTo>
                      <a:pt x="55" y="14"/>
                    </a:lnTo>
                    <a:lnTo>
                      <a:pt x="56" y="14"/>
                    </a:lnTo>
                    <a:lnTo>
                      <a:pt x="56" y="13"/>
                    </a:lnTo>
                    <a:lnTo>
                      <a:pt x="57" y="13"/>
                    </a:lnTo>
                    <a:lnTo>
                      <a:pt x="58" y="12"/>
                    </a:lnTo>
                    <a:lnTo>
                      <a:pt x="58" y="12"/>
                    </a:lnTo>
                    <a:lnTo>
                      <a:pt x="59" y="11"/>
                    </a:lnTo>
                    <a:lnTo>
                      <a:pt x="59" y="10"/>
                    </a:lnTo>
                    <a:lnTo>
                      <a:pt x="60" y="9"/>
                    </a:lnTo>
                    <a:lnTo>
                      <a:pt x="60" y="8"/>
                    </a:lnTo>
                    <a:lnTo>
                      <a:pt x="61" y="8"/>
                    </a:lnTo>
                    <a:lnTo>
                      <a:pt x="62" y="8"/>
                    </a:lnTo>
                    <a:lnTo>
                      <a:pt x="63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5" y="7"/>
                    </a:lnTo>
                    <a:lnTo>
                      <a:pt x="65" y="7"/>
                    </a:lnTo>
                    <a:lnTo>
                      <a:pt x="66" y="6"/>
                    </a:lnTo>
                    <a:lnTo>
                      <a:pt x="67" y="5"/>
                    </a:lnTo>
                    <a:lnTo>
                      <a:pt x="67" y="4"/>
                    </a:lnTo>
                    <a:lnTo>
                      <a:pt x="68" y="4"/>
                    </a:lnTo>
                    <a:lnTo>
                      <a:pt x="69" y="4"/>
                    </a:lnTo>
                    <a:lnTo>
                      <a:pt x="69" y="3"/>
                    </a:lnTo>
                    <a:lnTo>
                      <a:pt x="70" y="3"/>
                    </a:lnTo>
                    <a:lnTo>
                      <a:pt x="70" y="3"/>
                    </a:lnTo>
                    <a:lnTo>
                      <a:pt x="71" y="3"/>
                    </a:lnTo>
                    <a:lnTo>
                      <a:pt x="71" y="3"/>
                    </a:lnTo>
                    <a:lnTo>
                      <a:pt x="72" y="3"/>
                    </a:lnTo>
                    <a:lnTo>
                      <a:pt x="72" y="3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3" y="4"/>
                    </a:lnTo>
                    <a:lnTo>
                      <a:pt x="73" y="5"/>
                    </a:lnTo>
                    <a:lnTo>
                      <a:pt x="74" y="5"/>
                    </a:lnTo>
                    <a:lnTo>
                      <a:pt x="75" y="5"/>
                    </a:lnTo>
                    <a:lnTo>
                      <a:pt x="76" y="5"/>
                    </a:lnTo>
                    <a:lnTo>
                      <a:pt x="77" y="5"/>
                    </a:lnTo>
                    <a:lnTo>
                      <a:pt x="77" y="5"/>
                    </a:lnTo>
                    <a:lnTo>
                      <a:pt x="78" y="5"/>
                    </a:lnTo>
                    <a:lnTo>
                      <a:pt x="78" y="5"/>
                    </a:lnTo>
                    <a:lnTo>
                      <a:pt x="79" y="5"/>
                    </a:lnTo>
                    <a:lnTo>
                      <a:pt x="79" y="6"/>
                    </a:lnTo>
                    <a:lnTo>
                      <a:pt x="80" y="6"/>
                    </a:lnTo>
                    <a:lnTo>
                      <a:pt x="80" y="6"/>
                    </a:lnTo>
                    <a:lnTo>
                      <a:pt x="81" y="7"/>
                    </a:lnTo>
                    <a:lnTo>
                      <a:pt x="81" y="8"/>
                    </a:lnTo>
                    <a:lnTo>
                      <a:pt x="81" y="9"/>
                    </a:lnTo>
                    <a:lnTo>
                      <a:pt x="82" y="9"/>
                    </a:lnTo>
                    <a:lnTo>
                      <a:pt x="82" y="10"/>
                    </a:lnTo>
                    <a:lnTo>
                      <a:pt x="83" y="11"/>
                    </a:lnTo>
                    <a:lnTo>
                      <a:pt x="83" y="11"/>
                    </a:lnTo>
                    <a:lnTo>
                      <a:pt x="84" y="11"/>
                    </a:lnTo>
                    <a:lnTo>
                      <a:pt x="85" y="11"/>
                    </a:lnTo>
                    <a:lnTo>
                      <a:pt x="86" y="11"/>
                    </a:lnTo>
                    <a:lnTo>
                      <a:pt x="87" y="11"/>
                    </a:lnTo>
                    <a:lnTo>
                      <a:pt x="88" y="10"/>
                    </a:lnTo>
                    <a:lnTo>
                      <a:pt x="89" y="9"/>
                    </a:lnTo>
                    <a:lnTo>
                      <a:pt x="91" y="8"/>
                    </a:lnTo>
                    <a:lnTo>
                      <a:pt x="92" y="8"/>
                    </a:lnTo>
                    <a:lnTo>
                      <a:pt x="92" y="7"/>
                    </a:lnTo>
                    <a:lnTo>
                      <a:pt x="93" y="7"/>
                    </a:lnTo>
                    <a:lnTo>
                      <a:pt x="95" y="6"/>
                    </a:lnTo>
                    <a:lnTo>
                      <a:pt x="96" y="6"/>
                    </a:lnTo>
                    <a:lnTo>
                      <a:pt x="97" y="6"/>
                    </a:lnTo>
                    <a:lnTo>
                      <a:pt x="98" y="6"/>
                    </a:lnTo>
                    <a:lnTo>
                      <a:pt x="100" y="6"/>
                    </a:lnTo>
                    <a:lnTo>
                      <a:pt x="101" y="6"/>
                    </a:lnTo>
                    <a:lnTo>
                      <a:pt x="102" y="6"/>
                    </a:lnTo>
                    <a:lnTo>
                      <a:pt x="103" y="6"/>
                    </a:lnTo>
                    <a:lnTo>
                      <a:pt x="104" y="8"/>
                    </a:lnTo>
                    <a:lnTo>
                      <a:pt x="105" y="11"/>
                    </a:lnTo>
                    <a:lnTo>
                      <a:pt x="106" y="13"/>
                    </a:lnTo>
                    <a:lnTo>
                      <a:pt x="108" y="15"/>
                    </a:lnTo>
                    <a:lnTo>
                      <a:pt x="109" y="17"/>
                    </a:lnTo>
                    <a:lnTo>
                      <a:pt x="109" y="18"/>
                    </a:lnTo>
                    <a:lnTo>
                      <a:pt x="110" y="19"/>
                    </a:lnTo>
                    <a:lnTo>
                      <a:pt x="111" y="20"/>
                    </a:lnTo>
                    <a:lnTo>
                      <a:pt x="112" y="21"/>
                    </a:lnTo>
                    <a:lnTo>
                      <a:pt x="112" y="22"/>
                    </a:lnTo>
                    <a:lnTo>
                      <a:pt x="113" y="23"/>
                    </a:lnTo>
                    <a:lnTo>
                      <a:pt x="115" y="23"/>
                    </a:lnTo>
                    <a:lnTo>
                      <a:pt x="116" y="23"/>
                    </a:lnTo>
                    <a:lnTo>
                      <a:pt x="117" y="23"/>
                    </a:lnTo>
                    <a:lnTo>
                      <a:pt x="118" y="23"/>
                    </a:lnTo>
                    <a:lnTo>
                      <a:pt x="119" y="23"/>
                    </a:lnTo>
                    <a:lnTo>
                      <a:pt x="120" y="23"/>
                    </a:lnTo>
                    <a:lnTo>
                      <a:pt x="121" y="24"/>
                    </a:lnTo>
                    <a:lnTo>
                      <a:pt x="122" y="24"/>
                    </a:lnTo>
                    <a:lnTo>
                      <a:pt x="123" y="24"/>
                    </a:lnTo>
                    <a:lnTo>
                      <a:pt x="124" y="25"/>
                    </a:lnTo>
                    <a:lnTo>
                      <a:pt x="125" y="26"/>
                    </a:lnTo>
                    <a:lnTo>
                      <a:pt x="127" y="27"/>
                    </a:lnTo>
                    <a:lnTo>
                      <a:pt x="128" y="28"/>
                    </a:lnTo>
                    <a:lnTo>
                      <a:pt x="129" y="28"/>
                    </a:lnTo>
                    <a:lnTo>
                      <a:pt x="130" y="27"/>
                    </a:lnTo>
                    <a:lnTo>
                      <a:pt x="130" y="27"/>
                    </a:lnTo>
                    <a:lnTo>
                      <a:pt x="131" y="27"/>
                    </a:lnTo>
                    <a:lnTo>
                      <a:pt x="131" y="26"/>
                    </a:lnTo>
                    <a:lnTo>
                      <a:pt x="132" y="25"/>
                    </a:lnTo>
                    <a:lnTo>
                      <a:pt x="132" y="25"/>
                    </a:lnTo>
                    <a:lnTo>
                      <a:pt x="133" y="24"/>
                    </a:lnTo>
                    <a:lnTo>
                      <a:pt x="133" y="23"/>
                    </a:lnTo>
                    <a:lnTo>
                      <a:pt x="134" y="21"/>
                    </a:lnTo>
                    <a:lnTo>
                      <a:pt x="134" y="19"/>
                    </a:lnTo>
                    <a:lnTo>
                      <a:pt x="134" y="19"/>
                    </a:lnTo>
                    <a:lnTo>
                      <a:pt x="135" y="18"/>
                    </a:lnTo>
                    <a:lnTo>
                      <a:pt x="135" y="18"/>
                    </a:lnTo>
                    <a:lnTo>
                      <a:pt x="136" y="18"/>
                    </a:lnTo>
                    <a:lnTo>
                      <a:pt x="136" y="18"/>
                    </a:lnTo>
                    <a:lnTo>
                      <a:pt x="137" y="19"/>
                    </a:lnTo>
                    <a:lnTo>
                      <a:pt x="137" y="19"/>
                    </a:lnTo>
                    <a:lnTo>
                      <a:pt x="137" y="19"/>
                    </a:lnTo>
                    <a:lnTo>
                      <a:pt x="137" y="20"/>
                    </a:lnTo>
                    <a:lnTo>
                      <a:pt x="138" y="21"/>
                    </a:lnTo>
                    <a:lnTo>
                      <a:pt x="138" y="22"/>
                    </a:lnTo>
                    <a:lnTo>
                      <a:pt x="138" y="22"/>
                    </a:lnTo>
                    <a:lnTo>
                      <a:pt x="138" y="23"/>
                    </a:lnTo>
                    <a:lnTo>
                      <a:pt x="139" y="23"/>
                    </a:lnTo>
                    <a:lnTo>
                      <a:pt x="139" y="23"/>
                    </a:lnTo>
                    <a:lnTo>
                      <a:pt x="140" y="23"/>
                    </a:lnTo>
                    <a:lnTo>
                      <a:pt x="144" y="23"/>
                    </a:lnTo>
                    <a:lnTo>
                      <a:pt x="147" y="23"/>
                    </a:lnTo>
                    <a:lnTo>
                      <a:pt x="149" y="23"/>
                    </a:lnTo>
                    <a:lnTo>
                      <a:pt x="151" y="23"/>
                    </a:lnTo>
                    <a:lnTo>
                      <a:pt x="153" y="23"/>
                    </a:lnTo>
                    <a:lnTo>
                      <a:pt x="155" y="23"/>
                    </a:lnTo>
                    <a:lnTo>
                      <a:pt x="156" y="23"/>
                    </a:lnTo>
                    <a:lnTo>
                      <a:pt x="158" y="22"/>
                    </a:lnTo>
                    <a:lnTo>
                      <a:pt x="159" y="22"/>
                    </a:lnTo>
                    <a:lnTo>
                      <a:pt x="160" y="21"/>
                    </a:lnTo>
                    <a:lnTo>
                      <a:pt x="162" y="20"/>
                    </a:lnTo>
                    <a:lnTo>
                      <a:pt x="163" y="20"/>
                    </a:lnTo>
                    <a:lnTo>
                      <a:pt x="164" y="19"/>
                    </a:lnTo>
                    <a:lnTo>
                      <a:pt x="165" y="18"/>
                    </a:lnTo>
                    <a:lnTo>
                      <a:pt x="165" y="16"/>
                    </a:lnTo>
                    <a:lnTo>
                      <a:pt x="165" y="14"/>
                    </a:lnTo>
                    <a:lnTo>
                      <a:pt x="166" y="12"/>
                    </a:lnTo>
                    <a:lnTo>
                      <a:pt x="166" y="10"/>
                    </a:lnTo>
                    <a:lnTo>
                      <a:pt x="166" y="8"/>
                    </a:lnTo>
                    <a:lnTo>
                      <a:pt x="167" y="6"/>
                    </a:lnTo>
                    <a:lnTo>
                      <a:pt x="167" y="5"/>
                    </a:lnTo>
                    <a:lnTo>
                      <a:pt x="168" y="3"/>
                    </a:lnTo>
                    <a:lnTo>
                      <a:pt x="170" y="3"/>
                    </a:lnTo>
                    <a:lnTo>
                      <a:pt x="171" y="3"/>
                    </a:lnTo>
                    <a:lnTo>
                      <a:pt x="173" y="3"/>
                    </a:lnTo>
                    <a:lnTo>
                      <a:pt x="175" y="3"/>
                    </a:lnTo>
                    <a:lnTo>
                      <a:pt x="178" y="7"/>
                    </a:lnTo>
                    <a:lnTo>
                      <a:pt x="181" y="10"/>
                    </a:lnTo>
                    <a:lnTo>
                      <a:pt x="182" y="12"/>
                    </a:lnTo>
                    <a:lnTo>
                      <a:pt x="184" y="14"/>
                    </a:lnTo>
                    <a:lnTo>
                      <a:pt x="185" y="16"/>
                    </a:lnTo>
                    <a:lnTo>
                      <a:pt x="187" y="18"/>
                    </a:lnTo>
                    <a:lnTo>
                      <a:pt x="187" y="20"/>
                    </a:lnTo>
                    <a:lnTo>
                      <a:pt x="187" y="23"/>
                    </a:lnTo>
                    <a:lnTo>
                      <a:pt x="187" y="25"/>
                    </a:lnTo>
                    <a:lnTo>
                      <a:pt x="188" y="27"/>
                    </a:lnTo>
                    <a:lnTo>
                      <a:pt x="188" y="29"/>
                    </a:lnTo>
                    <a:lnTo>
                      <a:pt x="189" y="31"/>
                    </a:lnTo>
                    <a:lnTo>
                      <a:pt x="190" y="35"/>
                    </a:lnTo>
                    <a:lnTo>
                      <a:pt x="192" y="39"/>
                    </a:lnTo>
                    <a:lnTo>
                      <a:pt x="192" y="41"/>
                    </a:lnTo>
                    <a:lnTo>
                      <a:pt x="193" y="43"/>
                    </a:lnTo>
                    <a:lnTo>
                      <a:pt x="193" y="45"/>
                    </a:lnTo>
                    <a:lnTo>
                      <a:pt x="194" y="47"/>
                    </a:lnTo>
                    <a:lnTo>
                      <a:pt x="194" y="49"/>
                    </a:lnTo>
                    <a:lnTo>
                      <a:pt x="195" y="51"/>
                    </a:lnTo>
                    <a:lnTo>
                      <a:pt x="194" y="52"/>
                    </a:lnTo>
                    <a:lnTo>
                      <a:pt x="193" y="53"/>
                    </a:lnTo>
                    <a:lnTo>
                      <a:pt x="192" y="53"/>
                    </a:lnTo>
                    <a:lnTo>
                      <a:pt x="192" y="54"/>
                    </a:lnTo>
                    <a:lnTo>
                      <a:pt x="191" y="55"/>
                    </a:lnTo>
                    <a:lnTo>
                      <a:pt x="191" y="56"/>
                    </a:lnTo>
                    <a:lnTo>
                      <a:pt x="190" y="58"/>
                    </a:lnTo>
                    <a:lnTo>
                      <a:pt x="189" y="59"/>
                    </a:lnTo>
                    <a:lnTo>
                      <a:pt x="189" y="60"/>
                    </a:lnTo>
                    <a:lnTo>
                      <a:pt x="188" y="61"/>
                    </a:lnTo>
                    <a:lnTo>
                      <a:pt x="187" y="61"/>
                    </a:lnTo>
                    <a:lnTo>
                      <a:pt x="186" y="62"/>
                    </a:lnTo>
                    <a:lnTo>
                      <a:pt x="185" y="62"/>
                    </a:lnTo>
                    <a:lnTo>
                      <a:pt x="185" y="63"/>
                    </a:lnTo>
                    <a:lnTo>
                      <a:pt x="184" y="63"/>
                    </a:lnTo>
                    <a:lnTo>
                      <a:pt x="184" y="63"/>
                    </a:lnTo>
                    <a:lnTo>
                      <a:pt x="183" y="63"/>
                    </a:lnTo>
                    <a:lnTo>
                      <a:pt x="183" y="64"/>
                    </a:lnTo>
                    <a:lnTo>
                      <a:pt x="183" y="65"/>
                    </a:lnTo>
                    <a:lnTo>
                      <a:pt x="183" y="66"/>
                    </a:lnTo>
                    <a:lnTo>
                      <a:pt x="183" y="66"/>
                    </a:lnTo>
                    <a:lnTo>
                      <a:pt x="182" y="68"/>
                    </a:lnTo>
                    <a:lnTo>
                      <a:pt x="182" y="69"/>
                    </a:lnTo>
                    <a:lnTo>
                      <a:pt x="182" y="71"/>
                    </a:lnTo>
                    <a:lnTo>
                      <a:pt x="181" y="72"/>
                    </a:lnTo>
                    <a:lnTo>
                      <a:pt x="181" y="72"/>
                    </a:lnTo>
                    <a:lnTo>
                      <a:pt x="181" y="73"/>
                    </a:lnTo>
                    <a:lnTo>
                      <a:pt x="181" y="74"/>
                    </a:lnTo>
                    <a:lnTo>
                      <a:pt x="181" y="75"/>
                    </a:lnTo>
                    <a:lnTo>
                      <a:pt x="181" y="76"/>
                    </a:lnTo>
                    <a:lnTo>
                      <a:pt x="182" y="77"/>
                    </a:lnTo>
                    <a:lnTo>
                      <a:pt x="183" y="77"/>
                    </a:lnTo>
                    <a:lnTo>
                      <a:pt x="183" y="78"/>
                    </a:lnTo>
                    <a:lnTo>
                      <a:pt x="184" y="78"/>
                    </a:lnTo>
                    <a:lnTo>
                      <a:pt x="184" y="78"/>
                    </a:lnTo>
                    <a:lnTo>
                      <a:pt x="185" y="78"/>
                    </a:lnTo>
                    <a:lnTo>
                      <a:pt x="185" y="79"/>
                    </a:lnTo>
                    <a:lnTo>
                      <a:pt x="185" y="79"/>
                    </a:lnTo>
                    <a:lnTo>
                      <a:pt x="186" y="79"/>
                    </a:lnTo>
                    <a:lnTo>
                      <a:pt x="187" y="79"/>
                    </a:lnTo>
                    <a:lnTo>
                      <a:pt x="187" y="79"/>
                    </a:lnTo>
                    <a:lnTo>
                      <a:pt x="188" y="78"/>
                    </a:lnTo>
                    <a:lnTo>
                      <a:pt x="188" y="78"/>
                    </a:lnTo>
                    <a:lnTo>
                      <a:pt x="189" y="78"/>
                    </a:lnTo>
                    <a:lnTo>
                      <a:pt x="190" y="78"/>
                    </a:lnTo>
                    <a:lnTo>
                      <a:pt x="191" y="78"/>
                    </a:lnTo>
                    <a:lnTo>
                      <a:pt x="191" y="78"/>
                    </a:lnTo>
                    <a:lnTo>
                      <a:pt x="192" y="79"/>
                    </a:lnTo>
                    <a:lnTo>
                      <a:pt x="192" y="80"/>
                    </a:lnTo>
                    <a:lnTo>
                      <a:pt x="192" y="81"/>
                    </a:lnTo>
                    <a:lnTo>
                      <a:pt x="192" y="82"/>
                    </a:lnTo>
                    <a:lnTo>
                      <a:pt x="192" y="83"/>
                    </a:lnTo>
                    <a:lnTo>
                      <a:pt x="193" y="84"/>
                    </a:lnTo>
                    <a:lnTo>
                      <a:pt x="193" y="84"/>
                    </a:lnTo>
                    <a:lnTo>
                      <a:pt x="194" y="85"/>
                    </a:lnTo>
                    <a:lnTo>
                      <a:pt x="195" y="86"/>
                    </a:lnTo>
                    <a:lnTo>
                      <a:pt x="196" y="87"/>
                    </a:lnTo>
                    <a:lnTo>
                      <a:pt x="197" y="88"/>
                    </a:lnTo>
                    <a:lnTo>
                      <a:pt x="198" y="89"/>
                    </a:lnTo>
                    <a:lnTo>
                      <a:pt x="200" y="90"/>
                    </a:lnTo>
                    <a:lnTo>
                      <a:pt x="201" y="91"/>
                    </a:lnTo>
                    <a:lnTo>
                      <a:pt x="204" y="92"/>
                    </a:lnTo>
                    <a:lnTo>
                      <a:pt x="206" y="93"/>
                    </a:lnTo>
                    <a:lnTo>
                      <a:pt x="207" y="94"/>
                    </a:lnTo>
                    <a:lnTo>
                      <a:pt x="209" y="95"/>
                    </a:lnTo>
                    <a:lnTo>
                      <a:pt x="210" y="96"/>
                    </a:lnTo>
                    <a:lnTo>
                      <a:pt x="210" y="98"/>
                    </a:lnTo>
                    <a:lnTo>
                      <a:pt x="210" y="99"/>
                    </a:lnTo>
                    <a:lnTo>
                      <a:pt x="210" y="100"/>
                    </a:lnTo>
                    <a:lnTo>
                      <a:pt x="210" y="101"/>
                    </a:lnTo>
                    <a:lnTo>
                      <a:pt x="210" y="102"/>
                    </a:lnTo>
                    <a:lnTo>
                      <a:pt x="211" y="103"/>
                    </a:lnTo>
                    <a:lnTo>
                      <a:pt x="211" y="104"/>
                    </a:lnTo>
                    <a:lnTo>
                      <a:pt x="211" y="105"/>
                    </a:lnTo>
                    <a:lnTo>
                      <a:pt x="212" y="105"/>
                    </a:lnTo>
                    <a:lnTo>
                      <a:pt x="212" y="105"/>
                    </a:lnTo>
                    <a:lnTo>
                      <a:pt x="213" y="105"/>
                    </a:lnTo>
                    <a:lnTo>
                      <a:pt x="213" y="105"/>
                    </a:lnTo>
                    <a:lnTo>
                      <a:pt x="213" y="105"/>
                    </a:lnTo>
                    <a:lnTo>
                      <a:pt x="214" y="106"/>
                    </a:lnTo>
                    <a:lnTo>
                      <a:pt x="214" y="106"/>
                    </a:lnTo>
                    <a:lnTo>
                      <a:pt x="214" y="107"/>
                    </a:lnTo>
                    <a:lnTo>
                      <a:pt x="214" y="107"/>
                    </a:lnTo>
                    <a:lnTo>
                      <a:pt x="214" y="108"/>
                    </a:lnTo>
                    <a:lnTo>
                      <a:pt x="215" y="110"/>
                    </a:lnTo>
                    <a:lnTo>
                      <a:pt x="215" y="111"/>
                    </a:lnTo>
                    <a:lnTo>
                      <a:pt x="215" y="112"/>
                    </a:lnTo>
                    <a:lnTo>
                      <a:pt x="215" y="112"/>
                    </a:lnTo>
                    <a:lnTo>
                      <a:pt x="215" y="113"/>
                    </a:lnTo>
                    <a:lnTo>
                      <a:pt x="216" y="114"/>
                    </a:lnTo>
                    <a:lnTo>
                      <a:pt x="216" y="114"/>
                    </a:lnTo>
                    <a:lnTo>
                      <a:pt x="216" y="115"/>
                    </a:lnTo>
                    <a:lnTo>
                      <a:pt x="216" y="116"/>
                    </a:lnTo>
                    <a:lnTo>
                      <a:pt x="216" y="117"/>
                    </a:lnTo>
                    <a:lnTo>
                      <a:pt x="215" y="118"/>
                    </a:lnTo>
                    <a:lnTo>
                      <a:pt x="215" y="120"/>
                    </a:lnTo>
                    <a:lnTo>
                      <a:pt x="214" y="121"/>
                    </a:lnTo>
                    <a:lnTo>
                      <a:pt x="213" y="122"/>
                    </a:lnTo>
                    <a:lnTo>
                      <a:pt x="213" y="123"/>
                    </a:lnTo>
                    <a:lnTo>
                      <a:pt x="212" y="123"/>
                    </a:lnTo>
                    <a:lnTo>
                      <a:pt x="211" y="124"/>
                    </a:lnTo>
                    <a:lnTo>
                      <a:pt x="210" y="125"/>
                    </a:lnTo>
                    <a:lnTo>
                      <a:pt x="208" y="126"/>
                    </a:lnTo>
                    <a:lnTo>
                      <a:pt x="206" y="128"/>
                    </a:lnTo>
                    <a:lnTo>
                      <a:pt x="204" y="129"/>
                    </a:lnTo>
                    <a:lnTo>
                      <a:pt x="202" y="130"/>
                    </a:lnTo>
                    <a:lnTo>
                      <a:pt x="200" y="131"/>
                    </a:lnTo>
                    <a:lnTo>
                      <a:pt x="198" y="133"/>
                    </a:lnTo>
                    <a:lnTo>
                      <a:pt x="196" y="134"/>
                    </a:lnTo>
                    <a:lnTo>
                      <a:pt x="195" y="135"/>
                    </a:lnTo>
                    <a:lnTo>
                      <a:pt x="194" y="136"/>
                    </a:lnTo>
                    <a:lnTo>
                      <a:pt x="193" y="136"/>
                    </a:lnTo>
                    <a:lnTo>
                      <a:pt x="192" y="137"/>
                    </a:lnTo>
                    <a:lnTo>
                      <a:pt x="192" y="138"/>
                    </a:lnTo>
                    <a:lnTo>
                      <a:pt x="191" y="139"/>
                    </a:lnTo>
                    <a:lnTo>
                      <a:pt x="190" y="140"/>
                    </a:lnTo>
                    <a:lnTo>
                      <a:pt x="190" y="141"/>
                    </a:lnTo>
                    <a:lnTo>
                      <a:pt x="189" y="141"/>
                    </a:lnTo>
                    <a:lnTo>
                      <a:pt x="188" y="141"/>
                    </a:lnTo>
                    <a:lnTo>
                      <a:pt x="187" y="141"/>
                    </a:lnTo>
                    <a:lnTo>
                      <a:pt x="187" y="141"/>
                    </a:lnTo>
                    <a:lnTo>
                      <a:pt x="185" y="141"/>
                    </a:lnTo>
                    <a:lnTo>
                      <a:pt x="184" y="140"/>
                    </a:lnTo>
                    <a:lnTo>
                      <a:pt x="183" y="139"/>
                    </a:lnTo>
                    <a:lnTo>
                      <a:pt x="182" y="139"/>
                    </a:lnTo>
                    <a:lnTo>
                      <a:pt x="181" y="138"/>
                    </a:lnTo>
                    <a:lnTo>
                      <a:pt x="180" y="137"/>
                    </a:lnTo>
                    <a:lnTo>
                      <a:pt x="179" y="136"/>
                    </a:lnTo>
                    <a:lnTo>
                      <a:pt x="179" y="135"/>
                    </a:lnTo>
                    <a:lnTo>
                      <a:pt x="177" y="133"/>
                    </a:lnTo>
                    <a:lnTo>
                      <a:pt x="176" y="131"/>
                    </a:lnTo>
                    <a:lnTo>
                      <a:pt x="174" y="129"/>
                    </a:lnTo>
                    <a:lnTo>
                      <a:pt x="173" y="127"/>
                    </a:lnTo>
                    <a:lnTo>
                      <a:pt x="171" y="125"/>
                    </a:lnTo>
                    <a:lnTo>
                      <a:pt x="170" y="123"/>
                    </a:lnTo>
                    <a:lnTo>
                      <a:pt x="169" y="122"/>
                    </a:lnTo>
                    <a:lnTo>
                      <a:pt x="168" y="121"/>
                    </a:lnTo>
                    <a:lnTo>
                      <a:pt x="167" y="121"/>
                    </a:lnTo>
                    <a:lnTo>
                      <a:pt x="167" y="120"/>
                    </a:lnTo>
                    <a:lnTo>
                      <a:pt x="166" y="119"/>
                    </a:lnTo>
                    <a:lnTo>
                      <a:pt x="165" y="119"/>
                    </a:lnTo>
                    <a:lnTo>
                      <a:pt x="163" y="118"/>
                    </a:lnTo>
                    <a:lnTo>
                      <a:pt x="162" y="117"/>
                    </a:lnTo>
                    <a:lnTo>
                      <a:pt x="161" y="117"/>
                    </a:lnTo>
                    <a:lnTo>
                      <a:pt x="159" y="117"/>
                    </a:lnTo>
                    <a:lnTo>
                      <a:pt x="158" y="116"/>
                    </a:lnTo>
                    <a:lnTo>
                      <a:pt x="157" y="116"/>
                    </a:lnTo>
                    <a:lnTo>
                      <a:pt x="156" y="117"/>
                    </a:lnTo>
                    <a:lnTo>
                      <a:pt x="155" y="117"/>
                    </a:lnTo>
                    <a:lnTo>
                      <a:pt x="154" y="118"/>
                    </a:lnTo>
                    <a:lnTo>
                      <a:pt x="153" y="119"/>
                    </a:lnTo>
                    <a:lnTo>
                      <a:pt x="152" y="120"/>
                    </a:lnTo>
                    <a:lnTo>
                      <a:pt x="151" y="121"/>
                    </a:lnTo>
                    <a:lnTo>
                      <a:pt x="150" y="123"/>
                    </a:lnTo>
                    <a:lnTo>
                      <a:pt x="149" y="124"/>
                    </a:lnTo>
                    <a:lnTo>
                      <a:pt x="149" y="125"/>
                    </a:lnTo>
                    <a:lnTo>
                      <a:pt x="148" y="128"/>
                    </a:lnTo>
                    <a:lnTo>
                      <a:pt x="147" y="130"/>
                    </a:lnTo>
                    <a:lnTo>
                      <a:pt x="146" y="131"/>
                    </a:lnTo>
                    <a:lnTo>
                      <a:pt x="146" y="133"/>
                    </a:lnTo>
                    <a:lnTo>
                      <a:pt x="145" y="134"/>
                    </a:lnTo>
                    <a:lnTo>
                      <a:pt x="144" y="135"/>
                    </a:lnTo>
                    <a:lnTo>
                      <a:pt x="143" y="136"/>
                    </a:lnTo>
                    <a:lnTo>
                      <a:pt x="142" y="136"/>
                    </a:lnTo>
                    <a:lnTo>
                      <a:pt x="142" y="136"/>
                    </a:lnTo>
                    <a:lnTo>
                      <a:pt x="141" y="136"/>
                    </a:lnTo>
                    <a:lnTo>
                      <a:pt x="140" y="136"/>
                    </a:lnTo>
                    <a:lnTo>
                      <a:pt x="140" y="136"/>
                    </a:lnTo>
                    <a:lnTo>
                      <a:pt x="139" y="136"/>
                    </a:lnTo>
                    <a:lnTo>
                      <a:pt x="138" y="135"/>
                    </a:lnTo>
                    <a:lnTo>
                      <a:pt x="137" y="135"/>
                    </a:lnTo>
                    <a:lnTo>
                      <a:pt x="137" y="135"/>
                    </a:lnTo>
                    <a:lnTo>
                      <a:pt x="136" y="134"/>
                    </a:lnTo>
                    <a:lnTo>
                      <a:pt x="136" y="134"/>
                    </a:lnTo>
                    <a:lnTo>
                      <a:pt x="135" y="134"/>
                    </a:lnTo>
                    <a:lnTo>
                      <a:pt x="134" y="134"/>
                    </a:lnTo>
                    <a:lnTo>
                      <a:pt x="133" y="135"/>
                    </a:lnTo>
                    <a:lnTo>
                      <a:pt x="133" y="136"/>
                    </a:lnTo>
                    <a:lnTo>
                      <a:pt x="132" y="137"/>
                    </a:lnTo>
                    <a:lnTo>
                      <a:pt x="131" y="138"/>
                    </a:lnTo>
                    <a:lnTo>
                      <a:pt x="131" y="139"/>
                    </a:lnTo>
                    <a:lnTo>
                      <a:pt x="129" y="141"/>
                    </a:lnTo>
                    <a:lnTo>
                      <a:pt x="127" y="142"/>
                    </a:lnTo>
                    <a:lnTo>
                      <a:pt x="125" y="144"/>
                    </a:lnTo>
                    <a:lnTo>
                      <a:pt x="123" y="145"/>
                    </a:lnTo>
                    <a:lnTo>
                      <a:pt x="122" y="147"/>
                    </a:lnTo>
                    <a:lnTo>
                      <a:pt x="120" y="148"/>
                    </a:lnTo>
                    <a:lnTo>
                      <a:pt x="118" y="150"/>
                    </a:lnTo>
                    <a:lnTo>
                      <a:pt x="116" y="151"/>
                    </a:lnTo>
                    <a:lnTo>
                      <a:pt x="114" y="153"/>
                    </a:lnTo>
                    <a:lnTo>
                      <a:pt x="112" y="155"/>
                    </a:lnTo>
                    <a:lnTo>
                      <a:pt x="111" y="157"/>
                    </a:lnTo>
                    <a:lnTo>
                      <a:pt x="110" y="157"/>
                    </a:lnTo>
                    <a:lnTo>
                      <a:pt x="109" y="158"/>
                    </a:lnTo>
                    <a:lnTo>
                      <a:pt x="108" y="159"/>
                    </a:lnTo>
                    <a:lnTo>
                      <a:pt x="108" y="161"/>
                    </a:lnTo>
                    <a:lnTo>
                      <a:pt x="107" y="162"/>
                    </a:lnTo>
                    <a:lnTo>
                      <a:pt x="106" y="163"/>
                    </a:lnTo>
                    <a:lnTo>
                      <a:pt x="105" y="163"/>
                    </a:lnTo>
                    <a:lnTo>
                      <a:pt x="104" y="163"/>
                    </a:lnTo>
                    <a:lnTo>
                      <a:pt x="102" y="164"/>
                    </a:lnTo>
                    <a:lnTo>
                      <a:pt x="101" y="165"/>
                    </a:lnTo>
                    <a:lnTo>
                      <a:pt x="100" y="165"/>
                    </a:lnTo>
                    <a:lnTo>
                      <a:pt x="99" y="166"/>
                    </a:lnTo>
                    <a:lnTo>
                      <a:pt x="98" y="167"/>
                    </a:lnTo>
                    <a:lnTo>
                      <a:pt x="97" y="167"/>
                    </a:lnTo>
                    <a:lnTo>
                      <a:pt x="96" y="168"/>
                    </a:lnTo>
                    <a:lnTo>
                      <a:pt x="95" y="169"/>
                    </a:lnTo>
                    <a:lnTo>
                      <a:pt x="94" y="170"/>
                    </a:lnTo>
                    <a:lnTo>
                      <a:pt x="94" y="171"/>
                    </a:lnTo>
                    <a:lnTo>
                      <a:pt x="93" y="172"/>
                    </a:lnTo>
                    <a:lnTo>
                      <a:pt x="93" y="174"/>
                    </a:lnTo>
                    <a:lnTo>
                      <a:pt x="92" y="175"/>
                    </a:lnTo>
                    <a:lnTo>
                      <a:pt x="92" y="176"/>
                    </a:lnTo>
                    <a:lnTo>
                      <a:pt x="91" y="176"/>
                    </a:lnTo>
                    <a:lnTo>
                      <a:pt x="91" y="176"/>
                    </a:lnTo>
                    <a:lnTo>
                      <a:pt x="90" y="176"/>
                    </a:lnTo>
                    <a:lnTo>
                      <a:pt x="90" y="176"/>
                    </a:lnTo>
                    <a:lnTo>
                      <a:pt x="89" y="176"/>
                    </a:lnTo>
                    <a:lnTo>
                      <a:pt x="87" y="176"/>
                    </a:lnTo>
                    <a:lnTo>
                      <a:pt x="86" y="176"/>
                    </a:lnTo>
                    <a:lnTo>
                      <a:pt x="85" y="176"/>
                    </a:lnTo>
                    <a:lnTo>
                      <a:pt x="82" y="176"/>
                    </a:lnTo>
                    <a:lnTo>
                      <a:pt x="80" y="176"/>
                    </a:lnTo>
                    <a:lnTo>
                      <a:pt x="77" y="177"/>
                    </a:lnTo>
                    <a:lnTo>
                      <a:pt x="74" y="177"/>
                    </a:lnTo>
                    <a:lnTo>
                      <a:pt x="71" y="178"/>
                    </a:lnTo>
                    <a:lnTo>
                      <a:pt x="69" y="179"/>
                    </a:lnTo>
                    <a:lnTo>
                      <a:pt x="63" y="180"/>
                    </a:lnTo>
                    <a:lnTo>
                      <a:pt x="60" y="181"/>
                    </a:lnTo>
                    <a:lnTo>
                      <a:pt x="57" y="181"/>
                    </a:lnTo>
                    <a:lnTo>
                      <a:pt x="54" y="182"/>
                    </a:lnTo>
                    <a:lnTo>
                      <a:pt x="51" y="182"/>
                    </a:lnTo>
                    <a:lnTo>
                      <a:pt x="48" y="183"/>
                    </a:lnTo>
                    <a:lnTo>
                      <a:pt x="45" y="183"/>
                    </a:lnTo>
                    <a:lnTo>
                      <a:pt x="44" y="182"/>
                    </a:lnTo>
                    <a:lnTo>
                      <a:pt x="44" y="181"/>
                    </a:lnTo>
                    <a:lnTo>
                      <a:pt x="44" y="179"/>
                    </a:lnTo>
                    <a:lnTo>
                      <a:pt x="43" y="178"/>
                    </a:lnTo>
                    <a:lnTo>
                      <a:pt x="43" y="176"/>
                    </a:lnTo>
                    <a:lnTo>
                      <a:pt x="43" y="175"/>
                    </a:lnTo>
                    <a:lnTo>
                      <a:pt x="43" y="173"/>
                    </a:lnTo>
                    <a:lnTo>
                      <a:pt x="43" y="171"/>
                    </a:lnTo>
                    <a:lnTo>
                      <a:pt x="43" y="168"/>
                    </a:lnTo>
                    <a:lnTo>
                      <a:pt x="43" y="164"/>
                    </a:lnTo>
                    <a:lnTo>
                      <a:pt x="43" y="163"/>
                    </a:lnTo>
                    <a:lnTo>
                      <a:pt x="43" y="161"/>
                    </a:lnTo>
                    <a:lnTo>
                      <a:pt x="43" y="159"/>
                    </a:lnTo>
                    <a:lnTo>
                      <a:pt x="43" y="158"/>
                    </a:lnTo>
                    <a:lnTo>
                      <a:pt x="44" y="157"/>
                    </a:lnTo>
                    <a:lnTo>
                      <a:pt x="44" y="157"/>
                    </a:lnTo>
                    <a:lnTo>
                      <a:pt x="45" y="156"/>
                    </a:lnTo>
                    <a:lnTo>
                      <a:pt x="45" y="155"/>
                    </a:lnTo>
                    <a:lnTo>
                      <a:pt x="45" y="154"/>
                    </a:lnTo>
                    <a:lnTo>
                      <a:pt x="45" y="153"/>
                    </a:lnTo>
                    <a:lnTo>
                      <a:pt x="45" y="152"/>
                    </a:lnTo>
                    <a:lnTo>
                      <a:pt x="45" y="151"/>
                    </a:lnTo>
                    <a:lnTo>
                      <a:pt x="45" y="149"/>
                    </a:lnTo>
                    <a:lnTo>
                      <a:pt x="45" y="147"/>
                    </a:lnTo>
                    <a:lnTo>
                      <a:pt x="45" y="145"/>
                    </a:lnTo>
                    <a:lnTo>
                      <a:pt x="45" y="144"/>
                    </a:lnTo>
                    <a:lnTo>
                      <a:pt x="45" y="143"/>
                    </a:lnTo>
                    <a:lnTo>
                      <a:pt x="44" y="142"/>
                    </a:lnTo>
                    <a:lnTo>
                      <a:pt x="43" y="140"/>
                    </a:lnTo>
                    <a:lnTo>
                      <a:pt x="42" y="139"/>
                    </a:lnTo>
                    <a:lnTo>
                      <a:pt x="41" y="138"/>
                    </a:lnTo>
                    <a:lnTo>
                      <a:pt x="39" y="137"/>
                    </a:lnTo>
                    <a:lnTo>
                      <a:pt x="38" y="136"/>
                    </a:lnTo>
                    <a:lnTo>
                      <a:pt x="36" y="135"/>
                    </a:lnTo>
                    <a:lnTo>
                      <a:pt x="35" y="135"/>
                    </a:lnTo>
                    <a:lnTo>
                      <a:pt x="32" y="133"/>
                    </a:lnTo>
                    <a:lnTo>
                      <a:pt x="30" y="132"/>
                    </a:lnTo>
                    <a:lnTo>
                      <a:pt x="29" y="132"/>
                    </a:lnTo>
                    <a:lnTo>
                      <a:pt x="27" y="131"/>
                    </a:lnTo>
                    <a:lnTo>
                      <a:pt x="26" y="130"/>
                    </a:lnTo>
                    <a:lnTo>
                      <a:pt x="25" y="129"/>
                    </a:lnTo>
                    <a:lnTo>
                      <a:pt x="23" y="128"/>
                    </a:lnTo>
                    <a:lnTo>
                      <a:pt x="23" y="125"/>
                    </a:lnTo>
                    <a:lnTo>
                      <a:pt x="23" y="123"/>
                    </a:lnTo>
                    <a:lnTo>
                      <a:pt x="23" y="120"/>
                    </a:lnTo>
                    <a:lnTo>
                      <a:pt x="23" y="118"/>
                    </a:lnTo>
                    <a:lnTo>
                      <a:pt x="23" y="116"/>
                    </a:lnTo>
                    <a:lnTo>
                      <a:pt x="23" y="114"/>
                    </a:lnTo>
                    <a:lnTo>
                      <a:pt x="23" y="112"/>
                    </a:lnTo>
                    <a:lnTo>
                      <a:pt x="23" y="110"/>
                    </a:lnTo>
                    <a:lnTo>
                      <a:pt x="23" y="109"/>
                    </a:lnTo>
                    <a:lnTo>
                      <a:pt x="23" y="107"/>
                    </a:lnTo>
                    <a:lnTo>
                      <a:pt x="24" y="106"/>
                    </a:lnTo>
                    <a:lnTo>
                      <a:pt x="24" y="104"/>
                    </a:lnTo>
                    <a:lnTo>
                      <a:pt x="25" y="103"/>
                    </a:lnTo>
                    <a:lnTo>
                      <a:pt x="25" y="102"/>
                    </a:lnTo>
                    <a:lnTo>
                      <a:pt x="25" y="102"/>
                    </a:lnTo>
                    <a:lnTo>
                      <a:pt x="26" y="101"/>
                    </a:lnTo>
                    <a:lnTo>
                      <a:pt x="26" y="100"/>
                    </a:lnTo>
                    <a:lnTo>
                      <a:pt x="27" y="99"/>
                    </a:lnTo>
                    <a:lnTo>
                      <a:pt x="28" y="99"/>
                    </a:lnTo>
                    <a:lnTo>
                      <a:pt x="28" y="98"/>
                    </a:lnTo>
                    <a:lnTo>
                      <a:pt x="29" y="97"/>
                    </a:lnTo>
                    <a:lnTo>
                      <a:pt x="29" y="97"/>
                    </a:lnTo>
                    <a:lnTo>
                      <a:pt x="29" y="96"/>
                    </a:lnTo>
                    <a:lnTo>
                      <a:pt x="29" y="96"/>
                    </a:lnTo>
                    <a:lnTo>
                      <a:pt x="29" y="95"/>
                    </a:lnTo>
                    <a:lnTo>
                      <a:pt x="28" y="95"/>
                    </a:lnTo>
                    <a:lnTo>
                      <a:pt x="28" y="94"/>
                    </a:lnTo>
                    <a:lnTo>
                      <a:pt x="28" y="94"/>
                    </a:lnTo>
                    <a:lnTo>
                      <a:pt x="27" y="93"/>
                    </a:lnTo>
                    <a:lnTo>
                      <a:pt x="26" y="92"/>
                    </a:lnTo>
                    <a:lnTo>
                      <a:pt x="26" y="91"/>
                    </a:lnTo>
                    <a:lnTo>
                      <a:pt x="25" y="91"/>
                    </a:lnTo>
                    <a:lnTo>
                      <a:pt x="25" y="90"/>
                    </a:lnTo>
                    <a:lnTo>
                      <a:pt x="25" y="90"/>
                    </a:lnTo>
                    <a:lnTo>
                      <a:pt x="25" y="88"/>
                    </a:lnTo>
                    <a:lnTo>
                      <a:pt x="25" y="87"/>
                    </a:lnTo>
                    <a:lnTo>
                      <a:pt x="24" y="85"/>
                    </a:lnTo>
                    <a:lnTo>
                      <a:pt x="24" y="84"/>
                    </a:lnTo>
                    <a:lnTo>
                      <a:pt x="24" y="83"/>
                    </a:lnTo>
                    <a:lnTo>
                      <a:pt x="25" y="82"/>
                    </a:lnTo>
                    <a:lnTo>
                      <a:pt x="25" y="80"/>
                    </a:lnTo>
                    <a:lnTo>
                      <a:pt x="25" y="79"/>
                    </a:lnTo>
                    <a:lnTo>
                      <a:pt x="25" y="78"/>
                    </a:lnTo>
                    <a:lnTo>
                      <a:pt x="26" y="76"/>
                    </a:lnTo>
                    <a:lnTo>
                      <a:pt x="26" y="74"/>
                    </a:lnTo>
                    <a:lnTo>
                      <a:pt x="27" y="72"/>
                    </a:lnTo>
                    <a:lnTo>
                      <a:pt x="28" y="70"/>
                    </a:lnTo>
                    <a:lnTo>
                      <a:pt x="28" y="69"/>
                    </a:lnTo>
                    <a:lnTo>
                      <a:pt x="28" y="69"/>
                    </a:lnTo>
                    <a:lnTo>
                      <a:pt x="27" y="68"/>
                    </a:lnTo>
                    <a:lnTo>
                      <a:pt x="27" y="68"/>
                    </a:lnTo>
                    <a:lnTo>
                      <a:pt x="26" y="67"/>
                    </a:lnTo>
                    <a:lnTo>
                      <a:pt x="25" y="67"/>
                    </a:lnTo>
                    <a:lnTo>
                      <a:pt x="24" y="66"/>
                    </a:lnTo>
                    <a:lnTo>
                      <a:pt x="23" y="66"/>
                    </a:lnTo>
                    <a:lnTo>
                      <a:pt x="22" y="65"/>
                    </a:lnTo>
                    <a:lnTo>
                      <a:pt x="21" y="65"/>
                    </a:lnTo>
                    <a:lnTo>
                      <a:pt x="20" y="65"/>
                    </a:lnTo>
                    <a:lnTo>
                      <a:pt x="19" y="65"/>
                    </a:lnTo>
                    <a:lnTo>
                      <a:pt x="18" y="65"/>
                    </a:lnTo>
                    <a:lnTo>
                      <a:pt x="17" y="65"/>
                    </a:lnTo>
                    <a:lnTo>
                      <a:pt x="16" y="65"/>
                    </a:lnTo>
                    <a:lnTo>
                      <a:pt x="16" y="66"/>
                    </a:lnTo>
                    <a:lnTo>
                      <a:pt x="15" y="66"/>
                    </a:lnTo>
                    <a:lnTo>
                      <a:pt x="15" y="66"/>
                    </a:lnTo>
                    <a:lnTo>
                      <a:pt x="14" y="66"/>
                    </a:lnTo>
                    <a:lnTo>
                      <a:pt x="14" y="66"/>
                    </a:lnTo>
                    <a:lnTo>
                      <a:pt x="13" y="65"/>
                    </a:lnTo>
                    <a:lnTo>
                      <a:pt x="12" y="64"/>
                    </a:lnTo>
                    <a:lnTo>
                      <a:pt x="11" y="63"/>
                    </a:lnTo>
                    <a:lnTo>
                      <a:pt x="10" y="62"/>
                    </a:lnTo>
                    <a:lnTo>
                      <a:pt x="10" y="60"/>
                    </a:lnTo>
                    <a:lnTo>
                      <a:pt x="8" y="58"/>
                    </a:lnTo>
                    <a:lnTo>
                      <a:pt x="8" y="57"/>
                    </a:lnTo>
                    <a:lnTo>
                      <a:pt x="7" y="55"/>
                    </a:lnTo>
                    <a:lnTo>
                      <a:pt x="6" y="54"/>
                    </a:lnTo>
                    <a:lnTo>
                      <a:pt x="5" y="54"/>
                    </a:lnTo>
                    <a:lnTo>
                      <a:pt x="4" y="53"/>
                    </a:lnTo>
                    <a:lnTo>
                      <a:pt x="4" y="52"/>
                    </a:lnTo>
                    <a:lnTo>
                      <a:pt x="3" y="52"/>
                    </a:lnTo>
                    <a:lnTo>
                      <a:pt x="2" y="52"/>
                    </a:lnTo>
                    <a:lnTo>
                      <a:pt x="2" y="52"/>
                    </a:lnTo>
                    <a:lnTo>
                      <a:pt x="1" y="51"/>
                    </a:lnTo>
                    <a:lnTo>
                      <a:pt x="0" y="51"/>
                    </a:lnTo>
                    <a:lnTo>
                      <a:pt x="0" y="51"/>
                    </a:lnTo>
                    <a:lnTo>
                      <a:pt x="0" y="51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49"/>
                    </a:lnTo>
                    <a:lnTo>
                      <a:pt x="0" y="48"/>
                    </a:lnTo>
                    <a:lnTo>
                      <a:pt x="1" y="47"/>
                    </a:lnTo>
                    <a:lnTo>
                      <a:pt x="1" y="46"/>
                    </a:lnTo>
                    <a:lnTo>
                      <a:pt x="2" y="46"/>
                    </a:lnTo>
                    <a:lnTo>
                      <a:pt x="2" y="45"/>
                    </a:lnTo>
                    <a:lnTo>
                      <a:pt x="3" y="43"/>
                    </a:lnTo>
                    <a:lnTo>
                      <a:pt x="4" y="42"/>
                    </a:lnTo>
                    <a:lnTo>
                      <a:pt x="5" y="41"/>
                    </a:lnTo>
                    <a:lnTo>
                      <a:pt x="5" y="40"/>
                    </a:lnTo>
                    <a:lnTo>
                      <a:pt x="6" y="40"/>
                    </a:lnTo>
                    <a:lnTo>
                      <a:pt x="6" y="39"/>
                    </a:lnTo>
                    <a:lnTo>
                      <a:pt x="7" y="38"/>
                    </a:lnTo>
                    <a:lnTo>
                      <a:pt x="10" y="38"/>
                    </a:lnTo>
                    <a:lnTo>
                      <a:pt x="12" y="38"/>
                    </a:lnTo>
                    <a:lnTo>
                      <a:pt x="15" y="38"/>
                    </a:lnTo>
                    <a:lnTo>
                      <a:pt x="18" y="38"/>
                    </a:lnTo>
                    <a:lnTo>
                      <a:pt x="19" y="37"/>
                    </a:lnTo>
                    <a:lnTo>
                      <a:pt x="20" y="36"/>
                    </a:lnTo>
                    <a:lnTo>
                      <a:pt x="21" y="35"/>
                    </a:lnTo>
                    <a:lnTo>
                      <a:pt x="22" y="33"/>
                    </a:lnTo>
                    <a:lnTo>
                      <a:pt x="23" y="31"/>
                    </a:lnTo>
                    <a:lnTo>
                      <a:pt x="25" y="28"/>
                    </a:lnTo>
                    <a:lnTo>
                      <a:pt x="25" y="27"/>
                    </a:lnTo>
                    <a:lnTo>
                      <a:pt x="25" y="26"/>
                    </a:lnTo>
                    <a:lnTo>
                      <a:pt x="25" y="25"/>
                    </a:lnTo>
                    <a:lnTo>
                      <a:pt x="25" y="24"/>
                    </a:lnTo>
                    <a:lnTo>
                      <a:pt x="25" y="23"/>
                    </a:lnTo>
                    <a:lnTo>
                      <a:pt x="25" y="23"/>
                    </a:lnTo>
                    <a:lnTo>
                      <a:pt x="25" y="21"/>
                    </a:lnTo>
                    <a:lnTo>
                      <a:pt x="24" y="21"/>
                    </a:lnTo>
                    <a:lnTo>
                      <a:pt x="24" y="20"/>
                    </a:lnTo>
                    <a:lnTo>
                      <a:pt x="24" y="19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7"/>
                    </a:lnTo>
                    <a:lnTo>
                      <a:pt x="24" y="17"/>
                    </a:lnTo>
                    <a:lnTo>
                      <a:pt x="25" y="17"/>
                    </a:lnTo>
                    <a:lnTo>
                      <a:pt x="25" y="16"/>
                    </a:lnTo>
                    <a:lnTo>
                      <a:pt x="25" y="16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defTabSz="914308">
                  <a:defRPr/>
                </a:pPr>
                <a:endParaRPr lang="en-US" sz="9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04" name="Freeform 8"/>
              <p:cNvSpPr>
                <a:spLocks/>
              </p:cNvSpPr>
              <p:nvPr/>
            </p:nvSpPr>
            <p:spPr bwMode="auto">
              <a:xfrm>
                <a:off x="2507833" y="2776476"/>
                <a:ext cx="2272313" cy="1379333"/>
              </a:xfrm>
              <a:custGeom>
                <a:avLst/>
                <a:gdLst/>
                <a:ahLst/>
                <a:cxnLst>
                  <a:cxn ang="0">
                    <a:pos x="218" y="2"/>
                  </a:cxn>
                  <a:cxn ang="0">
                    <a:pos x="219" y="9"/>
                  </a:cxn>
                  <a:cxn ang="0">
                    <a:pos x="232" y="15"/>
                  </a:cxn>
                  <a:cxn ang="0">
                    <a:pos x="242" y="23"/>
                  </a:cxn>
                  <a:cxn ang="0">
                    <a:pos x="241" y="28"/>
                  </a:cxn>
                  <a:cxn ang="0">
                    <a:pos x="244" y="29"/>
                  </a:cxn>
                  <a:cxn ang="0">
                    <a:pos x="250" y="22"/>
                  </a:cxn>
                  <a:cxn ang="0">
                    <a:pos x="264" y="20"/>
                  </a:cxn>
                  <a:cxn ang="0">
                    <a:pos x="271" y="9"/>
                  </a:cxn>
                  <a:cxn ang="0">
                    <a:pos x="282" y="6"/>
                  </a:cxn>
                  <a:cxn ang="0">
                    <a:pos x="293" y="17"/>
                  </a:cxn>
                  <a:cxn ang="0">
                    <a:pos x="291" y="27"/>
                  </a:cxn>
                  <a:cxn ang="0">
                    <a:pos x="285" y="35"/>
                  </a:cxn>
                  <a:cxn ang="0">
                    <a:pos x="286" y="40"/>
                  </a:cxn>
                  <a:cxn ang="0">
                    <a:pos x="290" y="50"/>
                  </a:cxn>
                  <a:cxn ang="0">
                    <a:pos x="292" y="64"/>
                  </a:cxn>
                  <a:cxn ang="0">
                    <a:pos x="295" y="70"/>
                  </a:cxn>
                  <a:cxn ang="0">
                    <a:pos x="290" y="79"/>
                  </a:cxn>
                  <a:cxn ang="0">
                    <a:pos x="293" y="84"/>
                  </a:cxn>
                  <a:cxn ang="0">
                    <a:pos x="298" y="92"/>
                  </a:cxn>
                  <a:cxn ang="0">
                    <a:pos x="293" y="96"/>
                  </a:cxn>
                  <a:cxn ang="0">
                    <a:pos x="291" y="110"/>
                  </a:cxn>
                  <a:cxn ang="0">
                    <a:pos x="296" y="115"/>
                  </a:cxn>
                  <a:cxn ang="0">
                    <a:pos x="303" y="114"/>
                  </a:cxn>
                  <a:cxn ang="0">
                    <a:pos x="304" y="120"/>
                  </a:cxn>
                  <a:cxn ang="0">
                    <a:pos x="299" y="129"/>
                  </a:cxn>
                  <a:cxn ang="0">
                    <a:pos x="256" y="134"/>
                  </a:cxn>
                  <a:cxn ang="0">
                    <a:pos x="237" y="146"/>
                  </a:cxn>
                  <a:cxn ang="0">
                    <a:pos x="229" y="159"/>
                  </a:cxn>
                  <a:cxn ang="0">
                    <a:pos x="193" y="169"/>
                  </a:cxn>
                  <a:cxn ang="0">
                    <a:pos x="131" y="172"/>
                  </a:cxn>
                  <a:cxn ang="0">
                    <a:pos x="123" y="169"/>
                  </a:cxn>
                  <a:cxn ang="0">
                    <a:pos x="92" y="169"/>
                  </a:cxn>
                  <a:cxn ang="0">
                    <a:pos x="73" y="168"/>
                  </a:cxn>
                  <a:cxn ang="0">
                    <a:pos x="46" y="165"/>
                  </a:cxn>
                  <a:cxn ang="0">
                    <a:pos x="20" y="148"/>
                  </a:cxn>
                  <a:cxn ang="0">
                    <a:pos x="4" y="142"/>
                  </a:cxn>
                  <a:cxn ang="0">
                    <a:pos x="3" y="130"/>
                  </a:cxn>
                  <a:cxn ang="0">
                    <a:pos x="20" y="119"/>
                  </a:cxn>
                  <a:cxn ang="0">
                    <a:pos x="26" y="109"/>
                  </a:cxn>
                  <a:cxn ang="0">
                    <a:pos x="24" y="101"/>
                  </a:cxn>
                  <a:cxn ang="0">
                    <a:pos x="30" y="94"/>
                  </a:cxn>
                  <a:cxn ang="0">
                    <a:pos x="42" y="81"/>
                  </a:cxn>
                  <a:cxn ang="0">
                    <a:pos x="55" y="82"/>
                  </a:cxn>
                  <a:cxn ang="0">
                    <a:pos x="70" y="72"/>
                  </a:cxn>
                  <a:cxn ang="0">
                    <a:pos x="73" y="66"/>
                  </a:cxn>
                  <a:cxn ang="0">
                    <a:pos x="81" y="56"/>
                  </a:cxn>
                  <a:cxn ang="0">
                    <a:pos x="99" y="37"/>
                  </a:cxn>
                  <a:cxn ang="0">
                    <a:pos x="103" y="29"/>
                  </a:cxn>
                  <a:cxn ang="0">
                    <a:pos x="107" y="24"/>
                  </a:cxn>
                  <a:cxn ang="0">
                    <a:pos x="115" y="21"/>
                  </a:cxn>
                  <a:cxn ang="0">
                    <a:pos x="123" y="27"/>
                  </a:cxn>
                  <a:cxn ang="0">
                    <a:pos x="128" y="29"/>
                  </a:cxn>
                  <a:cxn ang="0">
                    <a:pos x="133" y="35"/>
                  </a:cxn>
                  <a:cxn ang="0">
                    <a:pos x="148" y="37"/>
                  </a:cxn>
                  <a:cxn ang="0">
                    <a:pos x="157" y="29"/>
                  </a:cxn>
                  <a:cxn ang="0">
                    <a:pos x="164" y="22"/>
                  </a:cxn>
                  <a:cxn ang="0">
                    <a:pos x="171" y="20"/>
                  </a:cxn>
                  <a:cxn ang="0">
                    <a:pos x="174" y="27"/>
                  </a:cxn>
                  <a:cxn ang="0">
                    <a:pos x="182" y="26"/>
                  </a:cxn>
                  <a:cxn ang="0">
                    <a:pos x="186" y="20"/>
                  </a:cxn>
                  <a:cxn ang="0">
                    <a:pos x="192" y="15"/>
                  </a:cxn>
                  <a:cxn ang="0">
                    <a:pos x="204" y="6"/>
                  </a:cxn>
                </a:cxnLst>
                <a:rect l="0" t="0" r="r" b="b"/>
                <a:pathLst>
                  <a:path w="304" h="172">
                    <a:moveTo>
                      <a:pt x="215" y="0"/>
                    </a:moveTo>
                    <a:lnTo>
                      <a:pt x="215" y="0"/>
                    </a:lnTo>
                    <a:lnTo>
                      <a:pt x="215" y="0"/>
                    </a:lnTo>
                    <a:lnTo>
                      <a:pt x="215" y="0"/>
                    </a:lnTo>
                    <a:lnTo>
                      <a:pt x="216" y="0"/>
                    </a:lnTo>
                    <a:lnTo>
                      <a:pt x="216" y="0"/>
                    </a:lnTo>
                    <a:lnTo>
                      <a:pt x="216" y="0"/>
                    </a:lnTo>
                    <a:lnTo>
                      <a:pt x="217" y="1"/>
                    </a:lnTo>
                    <a:lnTo>
                      <a:pt x="217" y="2"/>
                    </a:lnTo>
                    <a:lnTo>
                      <a:pt x="218" y="2"/>
                    </a:lnTo>
                    <a:lnTo>
                      <a:pt x="218" y="3"/>
                    </a:lnTo>
                    <a:lnTo>
                      <a:pt x="218" y="4"/>
                    </a:lnTo>
                    <a:lnTo>
                      <a:pt x="219" y="4"/>
                    </a:lnTo>
                    <a:lnTo>
                      <a:pt x="219" y="5"/>
                    </a:lnTo>
                    <a:lnTo>
                      <a:pt x="219" y="6"/>
                    </a:lnTo>
                    <a:lnTo>
                      <a:pt x="219" y="6"/>
                    </a:lnTo>
                    <a:lnTo>
                      <a:pt x="219" y="7"/>
                    </a:lnTo>
                    <a:lnTo>
                      <a:pt x="219" y="8"/>
                    </a:lnTo>
                    <a:lnTo>
                      <a:pt x="219" y="9"/>
                    </a:lnTo>
                    <a:lnTo>
                      <a:pt x="219" y="9"/>
                    </a:lnTo>
                    <a:lnTo>
                      <a:pt x="219" y="10"/>
                    </a:lnTo>
                    <a:lnTo>
                      <a:pt x="218" y="11"/>
                    </a:lnTo>
                    <a:lnTo>
                      <a:pt x="218" y="12"/>
                    </a:lnTo>
                    <a:lnTo>
                      <a:pt x="220" y="12"/>
                    </a:lnTo>
                    <a:lnTo>
                      <a:pt x="221" y="13"/>
                    </a:lnTo>
                    <a:lnTo>
                      <a:pt x="223" y="13"/>
                    </a:lnTo>
                    <a:lnTo>
                      <a:pt x="224" y="13"/>
                    </a:lnTo>
                    <a:lnTo>
                      <a:pt x="227" y="14"/>
                    </a:lnTo>
                    <a:lnTo>
                      <a:pt x="231" y="15"/>
                    </a:lnTo>
                    <a:lnTo>
                      <a:pt x="232" y="15"/>
                    </a:lnTo>
                    <a:lnTo>
                      <a:pt x="234" y="16"/>
                    </a:lnTo>
                    <a:lnTo>
                      <a:pt x="235" y="17"/>
                    </a:lnTo>
                    <a:lnTo>
                      <a:pt x="237" y="17"/>
                    </a:lnTo>
                    <a:lnTo>
                      <a:pt x="238" y="18"/>
                    </a:lnTo>
                    <a:lnTo>
                      <a:pt x="239" y="19"/>
                    </a:lnTo>
                    <a:lnTo>
                      <a:pt x="240" y="20"/>
                    </a:lnTo>
                    <a:lnTo>
                      <a:pt x="241" y="21"/>
                    </a:lnTo>
                    <a:lnTo>
                      <a:pt x="241" y="21"/>
                    </a:lnTo>
                    <a:lnTo>
                      <a:pt x="242" y="22"/>
                    </a:lnTo>
                    <a:lnTo>
                      <a:pt x="242" y="23"/>
                    </a:lnTo>
                    <a:lnTo>
                      <a:pt x="242" y="24"/>
                    </a:lnTo>
                    <a:lnTo>
                      <a:pt x="242" y="25"/>
                    </a:lnTo>
                    <a:lnTo>
                      <a:pt x="242" y="25"/>
                    </a:lnTo>
                    <a:lnTo>
                      <a:pt x="241" y="26"/>
                    </a:lnTo>
                    <a:lnTo>
                      <a:pt x="241" y="26"/>
                    </a:lnTo>
                    <a:lnTo>
                      <a:pt x="241" y="27"/>
                    </a:lnTo>
                    <a:lnTo>
                      <a:pt x="241" y="27"/>
                    </a:lnTo>
                    <a:lnTo>
                      <a:pt x="241" y="28"/>
                    </a:lnTo>
                    <a:lnTo>
                      <a:pt x="241" y="28"/>
                    </a:lnTo>
                    <a:lnTo>
                      <a:pt x="241" y="28"/>
                    </a:lnTo>
                    <a:lnTo>
                      <a:pt x="242" y="28"/>
                    </a:lnTo>
                    <a:lnTo>
                      <a:pt x="242" y="28"/>
                    </a:lnTo>
                    <a:lnTo>
                      <a:pt x="242" y="29"/>
                    </a:lnTo>
                    <a:lnTo>
                      <a:pt x="242" y="29"/>
                    </a:lnTo>
                    <a:lnTo>
                      <a:pt x="243" y="29"/>
                    </a:lnTo>
                    <a:lnTo>
                      <a:pt x="243" y="29"/>
                    </a:lnTo>
                    <a:lnTo>
                      <a:pt x="243" y="29"/>
                    </a:lnTo>
                    <a:lnTo>
                      <a:pt x="244" y="29"/>
                    </a:lnTo>
                    <a:lnTo>
                      <a:pt x="244" y="29"/>
                    </a:lnTo>
                    <a:lnTo>
                      <a:pt x="244" y="29"/>
                    </a:lnTo>
                    <a:lnTo>
                      <a:pt x="244" y="29"/>
                    </a:lnTo>
                    <a:lnTo>
                      <a:pt x="245" y="28"/>
                    </a:lnTo>
                    <a:lnTo>
                      <a:pt x="245" y="28"/>
                    </a:lnTo>
                    <a:lnTo>
                      <a:pt x="246" y="27"/>
                    </a:lnTo>
                    <a:lnTo>
                      <a:pt x="246" y="27"/>
                    </a:lnTo>
                    <a:lnTo>
                      <a:pt x="247" y="26"/>
                    </a:lnTo>
                    <a:lnTo>
                      <a:pt x="248" y="25"/>
                    </a:lnTo>
                    <a:lnTo>
                      <a:pt x="248" y="24"/>
                    </a:lnTo>
                    <a:lnTo>
                      <a:pt x="249" y="23"/>
                    </a:lnTo>
                    <a:lnTo>
                      <a:pt x="250" y="22"/>
                    </a:lnTo>
                    <a:lnTo>
                      <a:pt x="250" y="22"/>
                    </a:lnTo>
                    <a:lnTo>
                      <a:pt x="251" y="21"/>
                    </a:lnTo>
                    <a:lnTo>
                      <a:pt x="252" y="21"/>
                    </a:lnTo>
                    <a:lnTo>
                      <a:pt x="252" y="21"/>
                    </a:lnTo>
                    <a:lnTo>
                      <a:pt x="253" y="20"/>
                    </a:lnTo>
                    <a:lnTo>
                      <a:pt x="253" y="20"/>
                    </a:lnTo>
                    <a:lnTo>
                      <a:pt x="258" y="20"/>
                    </a:lnTo>
                    <a:lnTo>
                      <a:pt x="263" y="20"/>
                    </a:lnTo>
                    <a:lnTo>
                      <a:pt x="264" y="20"/>
                    </a:lnTo>
                    <a:lnTo>
                      <a:pt x="264" y="20"/>
                    </a:lnTo>
                    <a:lnTo>
                      <a:pt x="265" y="19"/>
                    </a:lnTo>
                    <a:lnTo>
                      <a:pt x="266" y="18"/>
                    </a:lnTo>
                    <a:lnTo>
                      <a:pt x="267" y="17"/>
                    </a:lnTo>
                    <a:lnTo>
                      <a:pt x="268" y="16"/>
                    </a:lnTo>
                    <a:lnTo>
                      <a:pt x="268" y="15"/>
                    </a:lnTo>
                    <a:lnTo>
                      <a:pt x="269" y="14"/>
                    </a:lnTo>
                    <a:lnTo>
                      <a:pt x="270" y="13"/>
                    </a:lnTo>
                    <a:lnTo>
                      <a:pt x="270" y="12"/>
                    </a:lnTo>
                    <a:lnTo>
                      <a:pt x="271" y="10"/>
                    </a:lnTo>
                    <a:lnTo>
                      <a:pt x="271" y="9"/>
                    </a:lnTo>
                    <a:lnTo>
                      <a:pt x="272" y="8"/>
                    </a:lnTo>
                    <a:lnTo>
                      <a:pt x="273" y="7"/>
                    </a:lnTo>
                    <a:lnTo>
                      <a:pt x="274" y="7"/>
                    </a:lnTo>
                    <a:lnTo>
                      <a:pt x="274" y="6"/>
                    </a:lnTo>
                    <a:lnTo>
                      <a:pt x="275" y="6"/>
                    </a:lnTo>
                    <a:lnTo>
                      <a:pt x="276" y="6"/>
                    </a:lnTo>
                    <a:lnTo>
                      <a:pt x="276" y="5"/>
                    </a:lnTo>
                    <a:lnTo>
                      <a:pt x="278" y="5"/>
                    </a:lnTo>
                    <a:lnTo>
                      <a:pt x="280" y="6"/>
                    </a:lnTo>
                    <a:lnTo>
                      <a:pt x="282" y="6"/>
                    </a:lnTo>
                    <a:lnTo>
                      <a:pt x="284" y="7"/>
                    </a:lnTo>
                    <a:lnTo>
                      <a:pt x="285" y="7"/>
                    </a:lnTo>
                    <a:lnTo>
                      <a:pt x="287" y="8"/>
                    </a:lnTo>
                    <a:lnTo>
                      <a:pt x="288" y="9"/>
                    </a:lnTo>
                    <a:lnTo>
                      <a:pt x="289" y="10"/>
                    </a:lnTo>
                    <a:lnTo>
                      <a:pt x="290" y="11"/>
                    </a:lnTo>
                    <a:lnTo>
                      <a:pt x="291" y="12"/>
                    </a:lnTo>
                    <a:lnTo>
                      <a:pt x="292" y="14"/>
                    </a:lnTo>
                    <a:lnTo>
                      <a:pt x="293" y="15"/>
                    </a:lnTo>
                    <a:lnTo>
                      <a:pt x="293" y="17"/>
                    </a:lnTo>
                    <a:lnTo>
                      <a:pt x="294" y="19"/>
                    </a:lnTo>
                    <a:lnTo>
                      <a:pt x="294" y="20"/>
                    </a:lnTo>
                    <a:lnTo>
                      <a:pt x="294" y="22"/>
                    </a:lnTo>
                    <a:lnTo>
                      <a:pt x="294" y="23"/>
                    </a:lnTo>
                    <a:lnTo>
                      <a:pt x="293" y="23"/>
                    </a:lnTo>
                    <a:lnTo>
                      <a:pt x="293" y="24"/>
                    </a:lnTo>
                    <a:lnTo>
                      <a:pt x="292" y="24"/>
                    </a:lnTo>
                    <a:lnTo>
                      <a:pt x="292" y="25"/>
                    </a:lnTo>
                    <a:lnTo>
                      <a:pt x="291" y="25"/>
                    </a:lnTo>
                    <a:lnTo>
                      <a:pt x="291" y="27"/>
                    </a:lnTo>
                    <a:lnTo>
                      <a:pt x="290" y="28"/>
                    </a:lnTo>
                    <a:lnTo>
                      <a:pt x="289" y="29"/>
                    </a:lnTo>
                    <a:lnTo>
                      <a:pt x="289" y="31"/>
                    </a:lnTo>
                    <a:lnTo>
                      <a:pt x="288" y="31"/>
                    </a:lnTo>
                    <a:lnTo>
                      <a:pt x="288" y="32"/>
                    </a:lnTo>
                    <a:lnTo>
                      <a:pt x="288" y="32"/>
                    </a:lnTo>
                    <a:lnTo>
                      <a:pt x="287" y="33"/>
                    </a:lnTo>
                    <a:lnTo>
                      <a:pt x="286" y="33"/>
                    </a:lnTo>
                    <a:lnTo>
                      <a:pt x="285" y="34"/>
                    </a:lnTo>
                    <a:lnTo>
                      <a:pt x="285" y="35"/>
                    </a:lnTo>
                    <a:lnTo>
                      <a:pt x="284" y="35"/>
                    </a:lnTo>
                    <a:lnTo>
                      <a:pt x="284" y="35"/>
                    </a:lnTo>
                    <a:lnTo>
                      <a:pt x="284" y="36"/>
                    </a:lnTo>
                    <a:lnTo>
                      <a:pt x="284" y="36"/>
                    </a:lnTo>
                    <a:lnTo>
                      <a:pt x="284" y="37"/>
                    </a:lnTo>
                    <a:lnTo>
                      <a:pt x="284" y="37"/>
                    </a:lnTo>
                    <a:lnTo>
                      <a:pt x="284" y="38"/>
                    </a:lnTo>
                    <a:lnTo>
                      <a:pt x="284" y="39"/>
                    </a:lnTo>
                    <a:lnTo>
                      <a:pt x="285" y="39"/>
                    </a:lnTo>
                    <a:lnTo>
                      <a:pt x="286" y="40"/>
                    </a:lnTo>
                    <a:lnTo>
                      <a:pt x="287" y="41"/>
                    </a:lnTo>
                    <a:lnTo>
                      <a:pt x="287" y="41"/>
                    </a:lnTo>
                    <a:lnTo>
                      <a:pt x="288" y="42"/>
                    </a:lnTo>
                    <a:lnTo>
                      <a:pt x="288" y="43"/>
                    </a:lnTo>
                    <a:lnTo>
                      <a:pt x="289" y="44"/>
                    </a:lnTo>
                    <a:lnTo>
                      <a:pt x="289" y="44"/>
                    </a:lnTo>
                    <a:lnTo>
                      <a:pt x="289" y="45"/>
                    </a:lnTo>
                    <a:lnTo>
                      <a:pt x="290" y="46"/>
                    </a:lnTo>
                    <a:lnTo>
                      <a:pt x="290" y="48"/>
                    </a:lnTo>
                    <a:lnTo>
                      <a:pt x="290" y="50"/>
                    </a:lnTo>
                    <a:lnTo>
                      <a:pt x="290" y="52"/>
                    </a:lnTo>
                    <a:lnTo>
                      <a:pt x="290" y="54"/>
                    </a:lnTo>
                    <a:lnTo>
                      <a:pt x="291" y="56"/>
                    </a:lnTo>
                    <a:lnTo>
                      <a:pt x="291" y="58"/>
                    </a:lnTo>
                    <a:lnTo>
                      <a:pt x="291" y="60"/>
                    </a:lnTo>
                    <a:lnTo>
                      <a:pt x="291" y="61"/>
                    </a:lnTo>
                    <a:lnTo>
                      <a:pt x="291" y="61"/>
                    </a:lnTo>
                    <a:lnTo>
                      <a:pt x="292" y="62"/>
                    </a:lnTo>
                    <a:lnTo>
                      <a:pt x="292" y="63"/>
                    </a:lnTo>
                    <a:lnTo>
                      <a:pt x="292" y="64"/>
                    </a:lnTo>
                    <a:lnTo>
                      <a:pt x="293" y="65"/>
                    </a:lnTo>
                    <a:lnTo>
                      <a:pt x="293" y="66"/>
                    </a:lnTo>
                    <a:lnTo>
                      <a:pt x="294" y="67"/>
                    </a:lnTo>
                    <a:lnTo>
                      <a:pt x="294" y="68"/>
                    </a:lnTo>
                    <a:lnTo>
                      <a:pt x="294" y="68"/>
                    </a:lnTo>
                    <a:lnTo>
                      <a:pt x="294" y="69"/>
                    </a:lnTo>
                    <a:lnTo>
                      <a:pt x="295" y="69"/>
                    </a:lnTo>
                    <a:lnTo>
                      <a:pt x="295" y="69"/>
                    </a:lnTo>
                    <a:lnTo>
                      <a:pt x="295" y="70"/>
                    </a:lnTo>
                    <a:lnTo>
                      <a:pt x="295" y="70"/>
                    </a:lnTo>
                    <a:lnTo>
                      <a:pt x="294" y="71"/>
                    </a:lnTo>
                    <a:lnTo>
                      <a:pt x="294" y="72"/>
                    </a:lnTo>
                    <a:lnTo>
                      <a:pt x="294" y="73"/>
                    </a:lnTo>
                    <a:lnTo>
                      <a:pt x="293" y="73"/>
                    </a:lnTo>
                    <a:lnTo>
                      <a:pt x="293" y="74"/>
                    </a:lnTo>
                    <a:lnTo>
                      <a:pt x="291" y="76"/>
                    </a:lnTo>
                    <a:lnTo>
                      <a:pt x="291" y="77"/>
                    </a:lnTo>
                    <a:lnTo>
                      <a:pt x="290" y="77"/>
                    </a:lnTo>
                    <a:lnTo>
                      <a:pt x="290" y="78"/>
                    </a:lnTo>
                    <a:lnTo>
                      <a:pt x="290" y="79"/>
                    </a:lnTo>
                    <a:lnTo>
                      <a:pt x="290" y="79"/>
                    </a:lnTo>
                    <a:lnTo>
                      <a:pt x="290" y="80"/>
                    </a:lnTo>
                    <a:lnTo>
                      <a:pt x="290" y="80"/>
                    </a:lnTo>
                    <a:lnTo>
                      <a:pt x="290" y="80"/>
                    </a:lnTo>
                    <a:lnTo>
                      <a:pt x="290" y="81"/>
                    </a:lnTo>
                    <a:lnTo>
                      <a:pt x="290" y="82"/>
                    </a:lnTo>
                    <a:lnTo>
                      <a:pt x="291" y="83"/>
                    </a:lnTo>
                    <a:lnTo>
                      <a:pt x="291" y="83"/>
                    </a:lnTo>
                    <a:lnTo>
                      <a:pt x="292" y="84"/>
                    </a:lnTo>
                    <a:lnTo>
                      <a:pt x="293" y="84"/>
                    </a:lnTo>
                    <a:lnTo>
                      <a:pt x="294" y="85"/>
                    </a:lnTo>
                    <a:lnTo>
                      <a:pt x="295" y="86"/>
                    </a:lnTo>
                    <a:lnTo>
                      <a:pt x="295" y="87"/>
                    </a:lnTo>
                    <a:lnTo>
                      <a:pt x="296" y="87"/>
                    </a:lnTo>
                    <a:lnTo>
                      <a:pt x="297" y="88"/>
                    </a:lnTo>
                    <a:lnTo>
                      <a:pt x="297" y="89"/>
                    </a:lnTo>
                    <a:lnTo>
                      <a:pt x="298" y="90"/>
                    </a:lnTo>
                    <a:lnTo>
                      <a:pt x="298" y="91"/>
                    </a:lnTo>
                    <a:lnTo>
                      <a:pt x="298" y="92"/>
                    </a:lnTo>
                    <a:lnTo>
                      <a:pt x="298" y="92"/>
                    </a:lnTo>
                    <a:lnTo>
                      <a:pt x="298" y="93"/>
                    </a:lnTo>
                    <a:lnTo>
                      <a:pt x="297" y="93"/>
                    </a:lnTo>
                    <a:lnTo>
                      <a:pt x="297" y="94"/>
                    </a:lnTo>
                    <a:lnTo>
                      <a:pt x="296" y="94"/>
                    </a:lnTo>
                    <a:lnTo>
                      <a:pt x="296" y="95"/>
                    </a:lnTo>
                    <a:lnTo>
                      <a:pt x="295" y="95"/>
                    </a:lnTo>
                    <a:lnTo>
                      <a:pt x="295" y="95"/>
                    </a:lnTo>
                    <a:lnTo>
                      <a:pt x="294" y="95"/>
                    </a:lnTo>
                    <a:lnTo>
                      <a:pt x="294" y="95"/>
                    </a:lnTo>
                    <a:lnTo>
                      <a:pt x="293" y="96"/>
                    </a:lnTo>
                    <a:lnTo>
                      <a:pt x="293" y="96"/>
                    </a:lnTo>
                    <a:lnTo>
                      <a:pt x="292" y="96"/>
                    </a:lnTo>
                    <a:lnTo>
                      <a:pt x="292" y="97"/>
                    </a:lnTo>
                    <a:lnTo>
                      <a:pt x="292" y="97"/>
                    </a:lnTo>
                    <a:lnTo>
                      <a:pt x="292" y="98"/>
                    </a:lnTo>
                    <a:lnTo>
                      <a:pt x="292" y="101"/>
                    </a:lnTo>
                    <a:lnTo>
                      <a:pt x="292" y="103"/>
                    </a:lnTo>
                    <a:lnTo>
                      <a:pt x="292" y="105"/>
                    </a:lnTo>
                    <a:lnTo>
                      <a:pt x="291" y="107"/>
                    </a:lnTo>
                    <a:lnTo>
                      <a:pt x="291" y="110"/>
                    </a:lnTo>
                    <a:lnTo>
                      <a:pt x="291" y="112"/>
                    </a:lnTo>
                    <a:lnTo>
                      <a:pt x="291" y="115"/>
                    </a:lnTo>
                    <a:lnTo>
                      <a:pt x="291" y="117"/>
                    </a:lnTo>
                    <a:lnTo>
                      <a:pt x="292" y="117"/>
                    </a:lnTo>
                    <a:lnTo>
                      <a:pt x="293" y="117"/>
                    </a:lnTo>
                    <a:lnTo>
                      <a:pt x="293" y="117"/>
                    </a:lnTo>
                    <a:lnTo>
                      <a:pt x="294" y="116"/>
                    </a:lnTo>
                    <a:lnTo>
                      <a:pt x="295" y="116"/>
                    </a:lnTo>
                    <a:lnTo>
                      <a:pt x="295" y="115"/>
                    </a:lnTo>
                    <a:lnTo>
                      <a:pt x="296" y="115"/>
                    </a:lnTo>
                    <a:lnTo>
                      <a:pt x="297" y="114"/>
                    </a:lnTo>
                    <a:lnTo>
                      <a:pt x="297" y="114"/>
                    </a:lnTo>
                    <a:lnTo>
                      <a:pt x="298" y="114"/>
                    </a:lnTo>
                    <a:lnTo>
                      <a:pt x="299" y="113"/>
                    </a:lnTo>
                    <a:lnTo>
                      <a:pt x="300" y="113"/>
                    </a:lnTo>
                    <a:lnTo>
                      <a:pt x="301" y="113"/>
                    </a:lnTo>
                    <a:lnTo>
                      <a:pt x="302" y="113"/>
                    </a:lnTo>
                    <a:lnTo>
                      <a:pt x="302" y="113"/>
                    </a:lnTo>
                    <a:lnTo>
                      <a:pt x="303" y="114"/>
                    </a:lnTo>
                    <a:lnTo>
                      <a:pt x="303" y="114"/>
                    </a:lnTo>
                    <a:lnTo>
                      <a:pt x="304" y="115"/>
                    </a:lnTo>
                    <a:lnTo>
                      <a:pt x="304" y="116"/>
                    </a:lnTo>
                    <a:lnTo>
                      <a:pt x="304" y="116"/>
                    </a:lnTo>
                    <a:lnTo>
                      <a:pt x="304" y="117"/>
                    </a:lnTo>
                    <a:lnTo>
                      <a:pt x="304" y="117"/>
                    </a:lnTo>
                    <a:lnTo>
                      <a:pt x="304" y="118"/>
                    </a:lnTo>
                    <a:lnTo>
                      <a:pt x="304" y="118"/>
                    </a:lnTo>
                    <a:lnTo>
                      <a:pt x="304" y="119"/>
                    </a:lnTo>
                    <a:lnTo>
                      <a:pt x="304" y="119"/>
                    </a:lnTo>
                    <a:lnTo>
                      <a:pt x="304" y="120"/>
                    </a:lnTo>
                    <a:lnTo>
                      <a:pt x="303" y="121"/>
                    </a:lnTo>
                    <a:lnTo>
                      <a:pt x="302" y="122"/>
                    </a:lnTo>
                    <a:lnTo>
                      <a:pt x="302" y="123"/>
                    </a:lnTo>
                    <a:lnTo>
                      <a:pt x="301" y="124"/>
                    </a:lnTo>
                    <a:lnTo>
                      <a:pt x="300" y="125"/>
                    </a:lnTo>
                    <a:lnTo>
                      <a:pt x="300" y="126"/>
                    </a:lnTo>
                    <a:lnTo>
                      <a:pt x="300" y="127"/>
                    </a:lnTo>
                    <a:lnTo>
                      <a:pt x="300" y="128"/>
                    </a:lnTo>
                    <a:lnTo>
                      <a:pt x="299" y="128"/>
                    </a:lnTo>
                    <a:lnTo>
                      <a:pt x="299" y="129"/>
                    </a:lnTo>
                    <a:lnTo>
                      <a:pt x="299" y="130"/>
                    </a:lnTo>
                    <a:lnTo>
                      <a:pt x="299" y="130"/>
                    </a:lnTo>
                    <a:lnTo>
                      <a:pt x="299" y="131"/>
                    </a:lnTo>
                    <a:lnTo>
                      <a:pt x="299" y="132"/>
                    </a:lnTo>
                    <a:lnTo>
                      <a:pt x="290" y="132"/>
                    </a:lnTo>
                    <a:lnTo>
                      <a:pt x="281" y="132"/>
                    </a:lnTo>
                    <a:lnTo>
                      <a:pt x="272" y="132"/>
                    </a:lnTo>
                    <a:lnTo>
                      <a:pt x="263" y="132"/>
                    </a:lnTo>
                    <a:lnTo>
                      <a:pt x="260" y="133"/>
                    </a:lnTo>
                    <a:lnTo>
                      <a:pt x="256" y="134"/>
                    </a:lnTo>
                    <a:lnTo>
                      <a:pt x="253" y="136"/>
                    </a:lnTo>
                    <a:lnTo>
                      <a:pt x="250" y="137"/>
                    </a:lnTo>
                    <a:lnTo>
                      <a:pt x="247" y="139"/>
                    </a:lnTo>
                    <a:lnTo>
                      <a:pt x="244" y="140"/>
                    </a:lnTo>
                    <a:lnTo>
                      <a:pt x="243" y="141"/>
                    </a:lnTo>
                    <a:lnTo>
                      <a:pt x="242" y="142"/>
                    </a:lnTo>
                    <a:lnTo>
                      <a:pt x="240" y="143"/>
                    </a:lnTo>
                    <a:lnTo>
                      <a:pt x="239" y="144"/>
                    </a:lnTo>
                    <a:lnTo>
                      <a:pt x="238" y="145"/>
                    </a:lnTo>
                    <a:lnTo>
                      <a:pt x="237" y="146"/>
                    </a:lnTo>
                    <a:lnTo>
                      <a:pt x="236" y="147"/>
                    </a:lnTo>
                    <a:lnTo>
                      <a:pt x="235" y="148"/>
                    </a:lnTo>
                    <a:lnTo>
                      <a:pt x="234" y="150"/>
                    </a:lnTo>
                    <a:lnTo>
                      <a:pt x="233" y="151"/>
                    </a:lnTo>
                    <a:lnTo>
                      <a:pt x="232" y="152"/>
                    </a:lnTo>
                    <a:lnTo>
                      <a:pt x="231" y="153"/>
                    </a:lnTo>
                    <a:lnTo>
                      <a:pt x="230" y="155"/>
                    </a:lnTo>
                    <a:lnTo>
                      <a:pt x="230" y="156"/>
                    </a:lnTo>
                    <a:lnTo>
                      <a:pt x="229" y="157"/>
                    </a:lnTo>
                    <a:lnTo>
                      <a:pt x="229" y="159"/>
                    </a:lnTo>
                    <a:lnTo>
                      <a:pt x="228" y="161"/>
                    </a:lnTo>
                    <a:lnTo>
                      <a:pt x="228" y="162"/>
                    </a:lnTo>
                    <a:lnTo>
                      <a:pt x="228" y="164"/>
                    </a:lnTo>
                    <a:lnTo>
                      <a:pt x="228" y="165"/>
                    </a:lnTo>
                    <a:lnTo>
                      <a:pt x="222" y="166"/>
                    </a:lnTo>
                    <a:lnTo>
                      <a:pt x="216" y="167"/>
                    </a:lnTo>
                    <a:lnTo>
                      <a:pt x="211" y="168"/>
                    </a:lnTo>
                    <a:lnTo>
                      <a:pt x="205" y="168"/>
                    </a:lnTo>
                    <a:lnTo>
                      <a:pt x="199" y="169"/>
                    </a:lnTo>
                    <a:lnTo>
                      <a:pt x="193" y="169"/>
                    </a:lnTo>
                    <a:lnTo>
                      <a:pt x="187" y="170"/>
                    </a:lnTo>
                    <a:lnTo>
                      <a:pt x="181" y="171"/>
                    </a:lnTo>
                    <a:lnTo>
                      <a:pt x="175" y="171"/>
                    </a:lnTo>
                    <a:lnTo>
                      <a:pt x="169" y="171"/>
                    </a:lnTo>
                    <a:lnTo>
                      <a:pt x="163" y="172"/>
                    </a:lnTo>
                    <a:lnTo>
                      <a:pt x="157" y="172"/>
                    </a:lnTo>
                    <a:lnTo>
                      <a:pt x="150" y="172"/>
                    </a:lnTo>
                    <a:lnTo>
                      <a:pt x="144" y="172"/>
                    </a:lnTo>
                    <a:lnTo>
                      <a:pt x="138" y="172"/>
                    </a:lnTo>
                    <a:lnTo>
                      <a:pt x="131" y="172"/>
                    </a:lnTo>
                    <a:lnTo>
                      <a:pt x="131" y="171"/>
                    </a:lnTo>
                    <a:lnTo>
                      <a:pt x="131" y="171"/>
                    </a:lnTo>
                    <a:lnTo>
                      <a:pt x="130" y="170"/>
                    </a:lnTo>
                    <a:lnTo>
                      <a:pt x="130" y="170"/>
                    </a:lnTo>
                    <a:lnTo>
                      <a:pt x="130" y="169"/>
                    </a:lnTo>
                    <a:lnTo>
                      <a:pt x="129" y="169"/>
                    </a:lnTo>
                    <a:lnTo>
                      <a:pt x="128" y="169"/>
                    </a:lnTo>
                    <a:lnTo>
                      <a:pt x="128" y="169"/>
                    </a:lnTo>
                    <a:lnTo>
                      <a:pt x="125" y="169"/>
                    </a:lnTo>
                    <a:lnTo>
                      <a:pt x="123" y="169"/>
                    </a:lnTo>
                    <a:lnTo>
                      <a:pt x="120" y="169"/>
                    </a:lnTo>
                    <a:lnTo>
                      <a:pt x="118" y="169"/>
                    </a:lnTo>
                    <a:lnTo>
                      <a:pt x="112" y="168"/>
                    </a:lnTo>
                    <a:lnTo>
                      <a:pt x="107" y="168"/>
                    </a:lnTo>
                    <a:lnTo>
                      <a:pt x="104" y="168"/>
                    </a:lnTo>
                    <a:lnTo>
                      <a:pt x="102" y="168"/>
                    </a:lnTo>
                    <a:lnTo>
                      <a:pt x="99" y="168"/>
                    </a:lnTo>
                    <a:lnTo>
                      <a:pt x="97" y="168"/>
                    </a:lnTo>
                    <a:lnTo>
                      <a:pt x="94" y="169"/>
                    </a:lnTo>
                    <a:lnTo>
                      <a:pt x="92" y="169"/>
                    </a:lnTo>
                    <a:lnTo>
                      <a:pt x="90" y="169"/>
                    </a:lnTo>
                    <a:lnTo>
                      <a:pt x="89" y="170"/>
                    </a:lnTo>
                    <a:lnTo>
                      <a:pt x="88" y="170"/>
                    </a:lnTo>
                    <a:lnTo>
                      <a:pt x="86" y="170"/>
                    </a:lnTo>
                    <a:lnTo>
                      <a:pt x="84" y="169"/>
                    </a:lnTo>
                    <a:lnTo>
                      <a:pt x="82" y="169"/>
                    </a:lnTo>
                    <a:lnTo>
                      <a:pt x="80" y="169"/>
                    </a:lnTo>
                    <a:lnTo>
                      <a:pt x="78" y="168"/>
                    </a:lnTo>
                    <a:lnTo>
                      <a:pt x="75" y="168"/>
                    </a:lnTo>
                    <a:lnTo>
                      <a:pt x="73" y="168"/>
                    </a:lnTo>
                    <a:lnTo>
                      <a:pt x="71" y="168"/>
                    </a:lnTo>
                    <a:lnTo>
                      <a:pt x="66" y="168"/>
                    </a:lnTo>
                    <a:lnTo>
                      <a:pt x="61" y="168"/>
                    </a:lnTo>
                    <a:lnTo>
                      <a:pt x="58" y="169"/>
                    </a:lnTo>
                    <a:lnTo>
                      <a:pt x="56" y="169"/>
                    </a:lnTo>
                    <a:lnTo>
                      <a:pt x="54" y="169"/>
                    </a:lnTo>
                    <a:lnTo>
                      <a:pt x="51" y="169"/>
                    </a:lnTo>
                    <a:lnTo>
                      <a:pt x="50" y="167"/>
                    </a:lnTo>
                    <a:lnTo>
                      <a:pt x="48" y="166"/>
                    </a:lnTo>
                    <a:lnTo>
                      <a:pt x="46" y="165"/>
                    </a:lnTo>
                    <a:lnTo>
                      <a:pt x="44" y="163"/>
                    </a:lnTo>
                    <a:lnTo>
                      <a:pt x="40" y="161"/>
                    </a:lnTo>
                    <a:lnTo>
                      <a:pt x="36" y="158"/>
                    </a:lnTo>
                    <a:lnTo>
                      <a:pt x="33" y="156"/>
                    </a:lnTo>
                    <a:lnTo>
                      <a:pt x="29" y="154"/>
                    </a:lnTo>
                    <a:lnTo>
                      <a:pt x="27" y="152"/>
                    </a:lnTo>
                    <a:lnTo>
                      <a:pt x="25" y="151"/>
                    </a:lnTo>
                    <a:lnTo>
                      <a:pt x="23" y="150"/>
                    </a:lnTo>
                    <a:lnTo>
                      <a:pt x="22" y="149"/>
                    </a:lnTo>
                    <a:lnTo>
                      <a:pt x="20" y="148"/>
                    </a:lnTo>
                    <a:lnTo>
                      <a:pt x="18" y="148"/>
                    </a:lnTo>
                    <a:lnTo>
                      <a:pt x="16" y="148"/>
                    </a:lnTo>
                    <a:lnTo>
                      <a:pt x="14" y="147"/>
                    </a:lnTo>
                    <a:lnTo>
                      <a:pt x="12" y="147"/>
                    </a:lnTo>
                    <a:lnTo>
                      <a:pt x="11" y="146"/>
                    </a:lnTo>
                    <a:lnTo>
                      <a:pt x="9" y="145"/>
                    </a:lnTo>
                    <a:lnTo>
                      <a:pt x="8" y="145"/>
                    </a:lnTo>
                    <a:lnTo>
                      <a:pt x="6" y="144"/>
                    </a:lnTo>
                    <a:lnTo>
                      <a:pt x="5" y="143"/>
                    </a:lnTo>
                    <a:lnTo>
                      <a:pt x="4" y="142"/>
                    </a:lnTo>
                    <a:lnTo>
                      <a:pt x="3" y="141"/>
                    </a:lnTo>
                    <a:lnTo>
                      <a:pt x="2" y="140"/>
                    </a:lnTo>
                    <a:lnTo>
                      <a:pt x="1" y="138"/>
                    </a:lnTo>
                    <a:lnTo>
                      <a:pt x="0" y="137"/>
                    </a:lnTo>
                    <a:lnTo>
                      <a:pt x="0" y="135"/>
                    </a:lnTo>
                    <a:lnTo>
                      <a:pt x="0" y="134"/>
                    </a:lnTo>
                    <a:lnTo>
                      <a:pt x="1" y="133"/>
                    </a:lnTo>
                    <a:lnTo>
                      <a:pt x="2" y="132"/>
                    </a:lnTo>
                    <a:lnTo>
                      <a:pt x="2" y="131"/>
                    </a:lnTo>
                    <a:lnTo>
                      <a:pt x="3" y="130"/>
                    </a:lnTo>
                    <a:lnTo>
                      <a:pt x="4" y="130"/>
                    </a:lnTo>
                    <a:lnTo>
                      <a:pt x="5" y="129"/>
                    </a:lnTo>
                    <a:lnTo>
                      <a:pt x="6" y="128"/>
                    </a:lnTo>
                    <a:lnTo>
                      <a:pt x="8" y="127"/>
                    </a:lnTo>
                    <a:lnTo>
                      <a:pt x="10" y="126"/>
                    </a:lnTo>
                    <a:lnTo>
                      <a:pt x="12" y="124"/>
                    </a:lnTo>
                    <a:lnTo>
                      <a:pt x="14" y="123"/>
                    </a:lnTo>
                    <a:lnTo>
                      <a:pt x="16" y="122"/>
                    </a:lnTo>
                    <a:lnTo>
                      <a:pt x="18" y="120"/>
                    </a:lnTo>
                    <a:lnTo>
                      <a:pt x="20" y="119"/>
                    </a:lnTo>
                    <a:lnTo>
                      <a:pt x="21" y="118"/>
                    </a:lnTo>
                    <a:lnTo>
                      <a:pt x="22" y="117"/>
                    </a:lnTo>
                    <a:lnTo>
                      <a:pt x="23" y="117"/>
                    </a:lnTo>
                    <a:lnTo>
                      <a:pt x="23" y="116"/>
                    </a:lnTo>
                    <a:lnTo>
                      <a:pt x="24" y="115"/>
                    </a:lnTo>
                    <a:lnTo>
                      <a:pt x="25" y="114"/>
                    </a:lnTo>
                    <a:lnTo>
                      <a:pt x="25" y="112"/>
                    </a:lnTo>
                    <a:lnTo>
                      <a:pt x="26" y="111"/>
                    </a:lnTo>
                    <a:lnTo>
                      <a:pt x="26" y="110"/>
                    </a:lnTo>
                    <a:lnTo>
                      <a:pt x="26" y="109"/>
                    </a:lnTo>
                    <a:lnTo>
                      <a:pt x="26" y="108"/>
                    </a:lnTo>
                    <a:lnTo>
                      <a:pt x="26" y="108"/>
                    </a:lnTo>
                    <a:lnTo>
                      <a:pt x="25" y="107"/>
                    </a:lnTo>
                    <a:lnTo>
                      <a:pt x="25" y="106"/>
                    </a:lnTo>
                    <a:lnTo>
                      <a:pt x="25" y="106"/>
                    </a:lnTo>
                    <a:lnTo>
                      <a:pt x="25" y="105"/>
                    </a:lnTo>
                    <a:lnTo>
                      <a:pt x="25" y="104"/>
                    </a:lnTo>
                    <a:lnTo>
                      <a:pt x="24" y="102"/>
                    </a:lnTo>
                    <a:lnTo>
                      <a:pt x="24" y="102"/>
                    </a:lnTo>
                    <a:lnTo>
                      <a:pt x="24" y="101"/>
                    </a:lnTo>
                    <a:lnTo>
                      <a:pt x="24" y="100"/>
                    </a:lnTo>
                    <a:lnTo>
                      <a:pt x="24" y="100"/>
                    </a:lnTo>
                    <a:lnTo>
                      <a:pt x="23" y="99"/>
                    </a:lnTo>
                    <a:lnTo>
                      <a:pt x="23" y="99"/>
                    </a:lnTo>
                    <a:lnTo>
                      <a:pt x="24" y="98"/>
                    </a:lnTo>
                    <a:lnTo>
                      <a:pt x="26" y="97"/>
                    </a:lnTo>
                    <a:lnTo>
                      <a:pt x="27" y="96"/>
                    </a:lnTo>
                    <a:lnTo>
                      <a:pt x="28" y="95"/>
                    </a:lnTo>
                    <a:lnTo>
                      <a:pt x="29" y="95"/>
                    </a:lnTo>
                    <a:lnTo>
                      <a:pt x="30" y="94"/>
                    </a:lnTo>
                    <a:lnTo>
                      <a:pt x="31" y="93"/>
                    </a:lnTo>
                    <a:lnTo>
                      <a:pt x="32" y="91"/>
                    </a:lnTo>
                    <a:lnTo>
                      <a:pt x="33" y="89"/>
                    </a:lnTo>
                    <a:lnTo>
                      <a:pt x="35" y="87"/>
                    </a:lnTo>
                    <a:lnTo>
                      <a:pt x="36" y="84"/>
                    </a:lnTo>
                    <a:lnTo>
                      <a:pt x="38" y="82"/>
                    </a:lnTo>
                    <a:lnTo>
                      <a:pt x="39" y="82"/>
                    </a:lnTo>
                    <a:lnTo>
                      <a:pt x="40" y="81"/>
                    </a:lnTo>
                    <a:lnTo>
                      <a:pt x="41" y="81"/>
                    </a:lnTo>
                    <a:lnTo>
                      <a:pt x="42" y="81"/>
                    </a:lnTo>
                    <a:lnTo>
                      <a:pt x="43" y="81"/>
                    </a:lnTo>
                    <a:lnTo>
                      <a:pt x="44" y="81"/>
                    </a:lnTo>
                    <a:lnTo>
                      <a:pt x="46" y="82"/>
                    </a:lnTo>
                    <a:lnTo>
                      <a:pt x="47" y="82"/>
                    </a:lnTo>
                    <a:lnTo>
                      <a:pt x="48" y="82"/>
                    </a:lnTo>
                    <a:lnTo>
                      <a:pt x="49" y="82"/>
                    </a:lnTo>
                    <a:lnTo>
                      <a:pt x="51" y="82"/>
                    </a:lnTo>
                    <a:lnTo>
                      <a:pt x="52" y="82"/>
                    </a:lnTo>
                    <a:lnTo>
                      <a:pt x="54" y="82"/>
                    </a:lnTo>
                    <a:lnTo>
                      <a:pt x="55" y="82"/>
                    </a:lnTo>
                    <a:lnTo>
                      <a:pt x="56" y="82"/>
                    </a:lnTo>
                    <a:lnTo>
                      <a:pt x="57" y="81"/>
                    </a:lnTo>
                    <a:lnTo>
                      <a:pt x="58" y="81"/>
                    </a:lnTo>
                    <a:lnTo>
                      <a:pt x="60" y="80"/>
                    </a:lnTo>
                    <a:lnTo>
                      <a:pt x="62" y="78"/>
                    </a:lnTo>
                    <a:lnTo>
                      <a:pt x="64" y="77"/>
                    </a:lnTo>
                    <a:lnTo>
                      <a:pt x="66" y="76"/>
                    </a:lnTo>
                    <a:lnTo>
                      <a:pt x="67" y="74"/>
                    </a:lnTo>
                    <a:lnTo>
                      <a:pt x="69" y="73"/>
                    </a:lnTo>
                    <a:lnTo>
                      <a:pt x="70" y="72"/>
                    </a:lnTo>
                    <a:lnTo>
                      <a:pt x="71" y="72"/>
                    </a:lnTo>
                    <a:lnTo>
                      <a:pt x="71" y="71"/>
                    </a:lnTo>
                    <a:lnTo>
                      <a:pt x="71" y="70"/>
                    </a:lnTo>
                    <a:lnTo>
                      <a:pt x="71" y="70"/>
                    </a:lnTo>
                    <a:lnTo>
                      <a:pt x="71" y="69"/>
                    </a:lnTo>
                    <a:lnTo>
                      <a:pt x="71" y="68"/>
                    </a:lnTo>
                    <a:lnTo>
                      <a:pt x="72" y="68"/>
                    </a:lnTo>
                    <a:lnTo>
                      <a:pt x="72" y="67"/>
                    </a:lnTo>
                    <a:lnTo>
                      <a:pt x="73" y="66"/>
                    </a:lnTo>
                    <a:lnTo>
                      <a:pt x="73" y="66"/>
                    </a:lnTo>
                    <a:lnTo>
                      <a:pt x="73" y="65"/>
                    </a:lnTo>
                    <a:lnTo>
                      <a:pt x="73" y="64"/>
                    </a:lnTo>
                    <a:lnTo>
                      <a:pt x="73" y="64"/>
                    </a:lnTo>
                    <a:lnTo>
                      <a:pt x="73" y="63"/>
                    </a:lnTo>
                    <a:lnTo>
                      <a:pt x="73" y="62"/>
                    </a:lnTo>
                    <a:lnTo>
                      <a:pt x="74" y="61"/>
                    </a:lnTo>
                    <a:lnTo>
                      <a:pt x="75" y="61"/>
                    </a:lnTo>
                    <a:lnTo>
                      <a:pt x="78" y="59"/>
                    </a:lnTo>
                    <a:lnTo>
                      <a:pt x="79" y="58"/>
                    </a:lnTo>
                    <a:lnTo>
                      <a:pt x="81" y="56"/>
                    </a:lnTo>
                    <a:lnTo>
                      <a:pt x="83" y="54"/>
                    </a:lnTo>
                    <a:lnTo>
                      <a:pt x="85" y="53"/>
                    </a:lnTo>
                    <a:lnTo>
                      <a:pt x="86" y="51"/>
                    </a:lnTo>
                    <a:lnTo>
                      <a:pt x="88" y="49"/>
                    </a:lnTo>
                    <a:lnTo>
                      <a:pt x="91" y="45"/>
                    </a:lnTo>
                    <a:lnTo>
                      <a:pt x="93" y="43"/>
                    </a:lnTo>
                    <a:lnTo>
                      <a:pt x="94" y="42"/>
                    </a:lnTo>
                    <a:lnTo>
                      <a:pt x="96" y="40"/>
                    </a:lnTo>
                    <a:lnTo>
                      <a:pt x="98" y="38"/>
                    </a:lnTo>
                    <a:lnTo>
                      <a:pt x="99" y="37"/>
                    </a:lnTo>
                    <a:lnTo>
                      <a:pt x="101" y="35"/>
                    </a:lnTo>
                    <a:lnTo>
                      <a:pt x="101" y="35"/>
                    </a:lnTo>
                    <a:lnTo>
                      <a:pt x="101" y="34"/>
                    </a:lnTo>
                    <a:lnTo>
                      <a:pt x="101" y="33"/>
                    </a:lnTo>
                    <a:lnTo>
                      <a:pt x="101" y="32"/>
                    </a:lnTo>
                    <a:lnTo>
                      <a:pt x="101" y="32"/>
                    </a:lnTo>
                    <a:lnTo>
                      <a:pt x="102" y="31"/>
                    </a:lnTo>
                    <a:lnTo>
                      <a:pt x="102" y="30"/>
                    </a:lnTo>
                    <a:lnTo>
                      <a:pt x="103" y="29"/>
                    </a:lnTo>
                    <a:lnTo>
                      <a:pt x="103" y="29"/>
                    </a:lnTo>
                    <a:lnTo>
                      <a:pt x="103" y="28"/>
                    </a:lnTo>
                    <a:lnTo>
                      <a:pt x="103" y="28"/>
                    </a:lnTo>
                    <a:lnTo>
                      <a:pt x="103" y="27"/>
                    </a:lnTo>
                    <a:lnTo>
                      <a:pt x="103" y="26"/>
                    </a:lnTo>
                    <a:lnTo>
                      <a:pt x="103" y="25"/>
                    </a:lnTo>
                    <a:lnTo>
                      <a:pt x="104" y="25"/>
                    </a:lnTo>
                    <a:lnTo>
                      <a:pt x="105" y="25"/>
                    </a:lnTo>
                    <a:lnTo>
                      <a:pt x="106" y="25"/>
                    </a:lnTo>
                    <a:lnTo>
                      <a:pt x="107" y="25"/>
                    </a:lnTo>
                    <a:lnTo>
                      <a:pt x="107" y="24"/>
                    </a:lnTo>
                    <a:lnTo>
                      <a:pt x="108" y="24"/>
                    </a:lnTo>
                    <a:lnTo>
                      <a:pt x="109" y="23"/>
                    </a:lnTo>
                    <a:lnTo>
                      <a:pt x="110" y="22"/>
                    </a:lnTo>
                    <a:lnTo>
                      <a:pt x="111" y="22"/>
                    </a:lnTo>
                    <a:lnTo>
                      <a:pt x="111" y="21"/>
                    </a:lnTo>
                    <a:lnTo>
                      <a:pt x="112" y="21"/>
                    </a:lnTo>
                    <a:lnTo>
                      <a:pt x="113" y="21"/>
                    </a:lnTo>
                    <a:lnTo>
                      <a:pt x="114" y="20"/>
                    </a:lnTo>
                    <a:lnTo>
                      <a:pt x="115" y="20"/>
                    </a:lnTo>
                    <a:lnTo>
                      <a:pt x="115" y="21"/>
                    </a:lnTo>
                    <a:lnTo>
                      <a:pt x="116" y="21"/>
                    </a:lnTo>
                    <a:lnTo>
                      <a:pt x="117" y="22"/>
                    </a:lnTo>
                    <a:lnTo>
                      <a:pt x="117" y="23"/>
                    </a:lnTo>
                    <a:lnTo>
                      <a:pt x="118" y="24"/>
                    </a:lnTo>
                    <a:lnTo>
                      <a:pt x="119" y="25"/>
                    </a:lnTo>
                    <a:lnTo>
                      <a:pt x="120" y="26"/>
                    </a:lnTo>
                    <a:lnTo>
                      <a:pt x="120" y="26"/>
                    </a:lnTo>
                    <a:lnTo>
                      <a:pt x="121" y="27"/>
                    </a:lnTo>
                    <a:lnTo>
                      <a:pt x="122" y="27"/>
                    </a:lnTo>
                    <a:lnTo>
                      <a:pt x="123" y="27"/>
                    </a:lnTo>
                    <a:lnTo>
                      <a:pt x="124" y="27"/>
                    </a:lnTo>
                    <a:lnTo>
                      <a:pt x="124" y="27"/>
                    </a:lnTo>
                    <a:lnTo>
                      <a:pt x="125" y="27"/>
                    </a:lnTo>
                    <a:lnTo>
                      <a:pt x="126" y="27"/>
                    </a:lnTo>
                    <a:lnTo>
                      <a:pt x="126" y="27"/>
                    </a:lnTo>
                    <a:lnTo>
                      <a:pt x="127" y="27"/>
                    </a:lnTo>
                    <a:lnTo>
                      <a:pt x="128" y="27"/>
                    </a:lnTo>
                    <a:lnTo>
                      <a:pt x="128" y="28"/>
                    </a:lnTo>
                    <a:lnTo>
                      <a:pt x="128" y="29"/>
                    </a:lnTo>
                    <a:lnTo>
                      <a:pt x="128" y="29"/>
                    </a:lnTo>
                    <a:lnTo>
                      <a:pt x="128" y="30"/>
                    </a:lnTo>
                    <a:lnTo>
                      <a:pt x="128" y="30"/>
                    </a:lnTo>
                    <a:lnTo>
                      <a:pt x="129" y="31"/>
                    </a:lnTo>
                    <a:lnTo>
                      <a:pt x="129" y="32"/>
                    </a:lnTo>
                    <a:lnTo>
                      <a:pt x="130" y="32"/>
                    </a:lnTo>
                    <a:lnTo>
                      <a:pt x="130" y="33"/>
                    </a:lnTo>
                    <a:lnTo>
                      <a:pt x="131" y="34"/>
                    </a:lnTo>
                    <a:lnTo>
                      <a:pt x="131" y="35"/>
                    </a:lnTo>
                    <a:lnTo>
                      <a:pt x="131" y="35"/>
                    </a:lnTo>
                    <a:lnTo>
                      <a:pt x="133" y="35"/>
                    </a:lnTo>
                    <a:lnTo>
                      <a:pt x="134" y="35"/>
                    </a:lnTo>
                    <a:lnTo>
                      <a:pt x="136" y="35"/>
                    </a:lnTo>
                    <a:lnTo>
                      <a:pt x="137" y="35"/>
                    </a:lnTo>
                    <a:lnTo>
                      <a:pt x="138" y="36"/>
                    </a:lnTo>
                    <a:lnTo>
                      <a:pt x="140" y="36"/>
                    </a:lnTo>
                    <a:lnTo>
                      <a:pt x="142" y="36"/>
                    </a:lnTo>
                    <a:lnTo>
                      <a:pt x="144" y="37"/>
                    </a:lnTo>
                    <a:lnTo>
                      <a:pt x="146" y="37"/>
                    </a:lnTo>
                    <a:lnTo>
                      <a:pt x="147" y="37"/>
                    </a:lnTo>
                    <a:lnTo>
                      <a:pt x="148" y="37"/>
                    </a:lnTo>
                    <a:lnTo>
                      <a:pt x="150" y="37"/>
                    </a:lnTo>
                    <a:lnTo>
                      <a:pt x="151" y="37"/>
                    </a:lnTo>
                    <a:lnTo>
                      <a:pt x="153" y="37"/>
                    </a:lnTo>
                    <a:lnTo>
                      <a:pt x="154" y="36"/>
                    </a:lnTo>
                    <a:lnTo>
                      <a:pt x="154" y="35"/>
                    </a:lnTo>
                    <a:lnTo>
                      <a:pt x="155" y="35"/>
                    </a:lnTo>
                    <a:lnTo>
                      <a:pt x="155" y="34"/>
                    </a:lnTo>
                    <a:lnTo>
                      <a:pt x="156" y="33"/>
                    </a:lnTo>
                    <a:lnTo>
                      <a:pt x="156" y="31"/>
                    </a:lnTo>
                    <a:lnTo>
                      <a:pt x="157" y="29"/>
                    </a:lnTo>
                    <a:lnTo>
                      <a:pt x="157" y="27"/>
                    </a:lnTo>
                    <a:lnTo>
                      <a:pt x="158" y="26"/>
                    </a:lnTo>
                    <a:lnTo>
                      <a:pt x="158" y="25"/>
                    </a:lnTo>
                    <a:lnTo>
                      <a:pt x="159" y="24"/>
                    </a:lnTo>
                    <a:lnTo>
                      <a:pt x="160" y="23"/>
                    </a:lnTo>
                    <a:lnTo>
                      <a:pt x="160" y="23"/>
                    </a:lnTo>
                    <a:lnTo>
                      <a:pt x="161" y="22"/>
                    </a:lnTo>
                    <a:lnTo>
                      <a:pt x="162" y="22"/>
                    </a:lnTo>
                    <a:lnTo>
                      <a:pt x="163" y="22"/>
                    </a:lnTo>
                    <a:lnTo>
                      <a:pt x="164" y="22"/>
                    </a:lnTo>
                    <a:lnTo>
                      <a:pt x="165" y="22"/>
                    </a:lnTo>
                    <a:lnTo>
                      <a:pt x="165" y="22"/>
                    </a:lnTo>
                    <a:lnTo>
                      <a:pt x="166" y="22"/>
                    </a:lnTo>
                    <a:lnTo>
                      <a:pt x="167" y="21"/>
                    </a:lnTo>
                    <a:lnTo>
                      <a:pt x="168" y="20"/>
                    </a:lnTo>
                    <a:lnTo>
                      <a:pt x="169" y="20"/>
                    </a:lnTo>
                    <a:lnTo>
                      <a:pt x="170" y="19"/>
                    </a:lnTo>
                    <a:lnTo>
                      <a:pt x="171" y="19"/>
                    </a:lnTo>
                    <a:lnTo>
                      <a:pt x="171" y="19"/>
                    </a:lnTo>
                    <a:lnTo>
                      <a:pt x="171" y="20"/>
                    </a:lnTo>
                    <a:lnTo>
                      <a:pt x="171" y="22"/>
                    </a:lnTo>
                    <a:lnTo>
                      <a:pt x="171" y="23"/>
                    </a:lnTo>
                    <a:lnTo>
                      <a:pt x="171" y="24"/>
                    </a:lnTo>
                    <a:lnTo>
                      <a:pt x="171" y="24"/>
                    </a:lnTo>
                    <a:lnTo>
                      <a:pt x="172" y="25"/>
                    </a:lnTo>
                    <a:lnTo>
                      <a:pt x="172" y="25"/>
                    </a:lnTo>
                    <a:lnTo>
                      <a:pt x="172" y="26"/>
                    </a:lnTo>
                    <a:lnTo>
                      <a:pt x="173" y="26"/>
                    </a:lnTo>
                    <a:lnTo>
                      <a:pt x="173" y="27"/>
                    </a:lnTo>
                    <a:lnTo>
                      <a:pt x="174" y="27"/>
                    </a:lnTo>
                    <a:lnTo>
                      <a:pt x="175" y="27"/>
                    </a:lnTo>
                    <a:lnTo>
                      <a:pt x="175" y="27"/>
                    </a:lnTo>
                    <a:lnTo>
                      <a:pt x="176" y="27"/>
                    </a:lnTo>
                    <a:lnTo>
                      <a:pt x="177" y="27"/>
                    </a:lnTo>
                    <a:lnTo>
                      <a:pt x="178" y="27"/>
                    </a:lnTo>
                    <a:lnTo>
                      <a:pt x="179" y="27"/>
                    </a:lnTo>
                    <a:lnTo>
                      <a:pt x="180" y="27"/>
                    </a:lnTo>
                    <a:lnTo>
                      <a:pt x="181" y="27"/>
                    </a:lnTo>
                    <a:lnTo>
                      <a:pt x="181" y="26"/>
                    </a:lnTo>
                    <a:lnTo>
                      <a:pt x="182" y="26"/>
                    </a:lnTo>
                    <a:lnTo>
                      <a:pt x="182" y="26"/>
                    </a:lnTo>
                    <a:lnTo>
                      <a:pt x="183" y="25"/>
                    </a:lnTo>
                    <a:lnTo>
                      <a:pt x="183" y="25"/>
                    </a:lnTo>
                    <a:lnTo>
                      <a:pt x="184" y="24"/>
                    </a:lnTo>
                    <a:lnTo>
                      <a:pt x="184" y="23"/>
                    </a:lnTo>
                    <a:lnTo>
                      <a:pt x="184" y="23"/>
                    </a:lnTo>
                    <a:lnTo>
                      <a:pt x="184" y="22"/>
                    </a:lnTo>
                    <a:lnTo>
                      <a:pt x="185" y="21"/>
                    </a:lnTo>
                    <a:lnTo>
                      <a:pt x="185" y="20"/>
                    </a:lnTo>
                    <a:lnTo>
                      <a:pt x="186" y="20"/>
                    </a:lnTo>
                    <a:lnTo>
                      <a:pt x="187" y="20"/>
                    </a:lnTo>
                    <a:lnTo>
                      <a:pt x="187" y="20"/>
                    </a:lnTo>
                    <a:lnTo>
                      <a:pt x="188" y="20"/>
                    </a:lnTo>
                    <a:lnTo>
                      <a:pt x="189" y="19"/>
                    </a:lnTo>
                    <a:lnTo>
                      <a:pt x="189" y="19"/>
                    </a:lnTo>
                    <a:lnTo>
                      <a:pt x="190" y="18"/>
                    </a:lnTo>
                    <a:lnTo>
                      <a:pt x="190" y="18"/>
                    </a:lnTo>
                    <a:lnTo>
                      <a:pt x="191" y="16"/>
                    </a:lnTo>
                    <a:lnTo>
                      <a:pt x="191" y="16"/>
                    </a:lnTo>
                    <a:lnTo>
                      <a:pt x="192" y="15"/>
                    </a:lnTo>
                    <a:lnTo>
                      <a:pt x="192" y="15"/>
                    </a:lnTo>
                    <a:lnTo>
                      <a:pt x="193" y="14"/>
                    </a:lnTo>
                    <a:lnTo>
                      <a:pt x="194" y="14"/>
                    </a:lnTo>
                    <a:lnTo>
                      <a:pt x="195" y="14"/>
                    </a:lnTo>
                    <a:lnTo>
                      <a:pt x="196" y="13"/>
                    </a:lnTo>
                    <a:lnTo>
                      <a:pt x="197" y="12"/>
                    </a:lnTo>
                    <a:lnTo>
                      <a:pt x="198" y="11"/>
                    </a:lnTo>
                    <a:lnTo>
                      <a:pt x="199" y="10"/>
                    </a:lnTo>
                    <a:lnTo>
                      <a:pt x="201" y="8"/>
                    </a:lnTo>
                    <a:lnTo>
                      <a:pt x="204" y="6"/>
                    </a:lnTo>
                    <a:lnTo>
                      <a:pt x="205" y="5"/>
                    </a:lnTo>
                    <a:lnTo>
                      <a:pt x="206" y="5"/>
                    </a:lnTo>
                    <a:lnTo>
                      <a:pt x="207" y="4"/>
                    </a:lnTo>
                    <a:lnTo>
                      <a:pt x="209" y="3"/>
                    </a:lnTo>
                    <a:lnTo>
                      <a:pt x="210" y="2"/>
                    </a:lnTo>
                    <a:lnTo>
                      <a:pt x="211" y="1"/>
                    </a:lnTo>
                    <a:lnTo>
                      <a:pt x="213" y="1"/>
                    </a:lnTo>
                    <a:lnTo>
                      <a:pt x="215" y="0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defTabSz="914308">
                  <a:defRPr/>
                </a:pPr>
                <a:endParaRPr lang="en-US" sz="9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05" name="Freeform 9"/>
              <p:cNvSpPr>
                <a:spLocks/>
              </p:cNvSpPr>
              <p:nvPr/>
            </p:nvSpPr>
            <p:spPr bwMode="auto">
              <a:xfrm>
                <a:off x="57279" y="3112806"/>
                <a:ext cx="1366857" cy="884285"/>
              </a:xfrm>
              <a:custGeom>
                <a:avLst/>
                <a:gdLst/>
                <a:ahLst/>
                <a:cxnLst>
                  <a:cxn ang="0">
                    <a:pos x="142" y="5"/>
                  </a:cxn>
                  <a:cxn ang="0">
                    <a:pos x="152" y="18"/>
                  </a:cxn>
                  <a:cxn ang="0">
                    <a:pos x="160" y="17"/>
                  </a:cxn>
                  <a:cxn ang="0">
                    <a:pos x="164" y="26"/>
                  </a:cxn>
                  <a:cxn ang="0">
                    <a:pos x="163" y="42"/>
                  </a:cxn>
                  <a:cxn ang="0">
                    <a:pos x="167" y="48"/>
                  </a:cxn>
                  <a:cxn ang="0">
                    <a:pos x="162" y="56"/>
                  </a:cxn>
                  <a:cxn ang="0">
                    <a:pos x="161" y="77"/>
                  </a:cxn>
                  <a:cxn ang="0">
                    <a:pos x="177" y="89"/>
                  </a:cxn>
                  <a:cxn ang="0">
                    <a:pos x="183" y="104"/>
                  </a:cxn>
                  <a:cxn ang="0">
                    <a:pos x="177" y="109"/>
                  </a:cxn>
                  <a:cxn ang="0">
                    <a:pos x="162" y="97"/>
                  </a:cxn>
                  <a:cxn ang="0">
                    <a:pos x="157" y="99"/>
                  </a:cxn>
                  <a:cxn ang="0">
                    <a:pos x="141" y="95"/>
                  </a:cxn>
                  <a:cxn ang="0">
                    <a:pos x="123" y="98"/>
                  </a:cxn>
                  <a:cxn ang="0">
                    <a:pos x="116" y="93"/>
                  </a:cxn>
                  <a:cxn ang="0">
                    <a:pos x="118" y="88"/>
                  </a:cxn>
                  <a:cxn ang="0">
                    <a:pos x="117" y="80"/>
                  </a:cxn>
                  <a:cxn ang="0">
                    <a:pos x="115" y="69"/>
                  </a:cxn>
                  <a:cxn ang="0">
                    <a:pos x="110" y="65"/>
                  </a:cxn>
                  <a:cxn ang="0">
                    <a:pos x="103" y="63"/>
                  </a:cxn>
                  <a:cxn ang="0">
                    <a:pos x="98" y="66"/>
                  </a:cxn>
                  <a:cxn ang="0">
                    <a:pos x="94" y="65"/>
                  </a:cxn>
                  <a:cxn ang="0">
                    <a:pos x="90" y="63"/>
                  </a:cxn>
                  <a:cxn ang="0">
                    <a:pos x="87" y="59"/>
                  </a:cxn>
                  <a:cxn ang="0">
                    <a:pos x="83" y="57"/>
                  </a:cxn>
                  <a:cxn ang="0">
                    <a:pos x="80" y="55"/>
                  </a:cxn>
                  <a:cxn ang="0">
                    <a:pos x="70" y="55"/>
                  </a:cxn>
                  <a:cxn ang="0">
                    <a:pos x="65" y="58"/>
                  </a:cxn>
                  <a:cxn ang="0">
                    <a:pos x="60" y="59"/>
                  </a:cxn>
                  <a:cxn ang="0">
                    <a:pos x="55" y="60"/>
                  </a:cxn>
                  <a:cxn ang="0">
                    <a:pos x="50" y="62"/>
                  </a:cxn>
                  <a:cxn ang="0">
                    <a:pos x="42" y="65"/>
                  </a:cxn>
                  <a:cxn ang="0">
                    <a:pos x="27" y="65"/>
                  </a:cxn>
                  <a:cxn ang="0">
                    <a:pos x="20" y="60"/>
                  </a:cxn>
                  <a:cxn ang="0">
                    <a:pos x="24" y="58"/>
                  </a:cxn>
                  <a:cxn ang="0">
                    <a:pos x="30" y="60"/>
                  </a:cxn>
                  <a:cxn ang="0">
                    <a:pos x="29" y="51"/>
                  </a:cxn>
                  <a:cxn ang="0">
                    <a:pos x="28" y="42"/>
                  </a:cxn>
                  <a:cxn ang="0">
                    <a:pos x="26" y="34"/>
                  </a:cxn>
                  <a:cxn ang="0">
                    <a:pos x="23" y="27"/>
                  </a:cxn>
                  <a:cxn ang="0">
                    <a:pos x="16" y="20"/>
                  </a:cxn>
                  <a:cxn ang="0">
                    <a:pos x="11" y="18"/>
                  </a:cxn>
                  <a:cxn ang="0">
                    <a:pos x="7" y="16"/>
                  </a:cxn>
                  <a:cxn ang="0">
                    <a:pos x="2" y="17"/>
                  </a:cxn>
                  <a:cxn ang="0">
                    <a:pos x="0" y="11"/>
                  </a:cxn>
                  <a:cxn ang="0">
                    <a:pos x="2" y="5"/>
                  </a:cxn>
                  <a:cxn ang="0">
                    <a:pos x="16" y="7"/>
                  </a:cxn>
                  <a:cxn ang="0">
                    <a:pos x="27" y="6"/>
                  </a:cxn>
                  <a:cxn ang="0">
                    <a:pos x="46" y="13"/>
                  </a:cxn>
                  <a:cxn ang="0">
                    <a:pos x="60" y="14"/>
                  </a:cxn>
                  <a:cxn ang="0">
                    <a:pos x="69" y="8"/>
                  </a:cxn>
                  <a:cxn ang="0">
                    <a:pos x="86" y="5"/>
                  </a:cxn>
                  <a:cxn ang="0">
                    <a:pos x="100" y="4"/>
                  </a:cxn>
                  <a:cxn ang="0">
                    <a:pos x="105" y="7"/>
                  </a:cxn>
                  <a:cxn ang="0">
                    <a:pos x="113" y="16"/>
                  </a:cxn>
                  <a:cxn ang="0">
                    <a:pos x="120" y="9"/>
                  </a:cxn>
                  <a:cxn ang="0">
                    <a:pos x="123" y="3"/>
                  </a:cxn>
                  <a:cxn ang="0">
                    <a:pos x="133" y="2"/>
                  </a:cxn>
                </a:cxnLst>
                <a:rect l="0" t="0" r="r" b="b"/>
                <a:pathLst>
                  <a:path w="183" h="110">
                    <a:moveTo>
                      <a:pt x="138" y="2"/>
                    </a:moveTo>
                    <a:lnTo>
                      <a:pt x="138" y="2"/>
                    </a:lnTo>
                    <a:lnTo>
                      <a:pt x="138" y="2"/>
                    </a:lnTo>
                    <a:lnTo>
                      <a:pt x="138" y="3"/>
                    </a:lnTo>
                    <a:lnTo>
                      <a:pt x="138" y="3"/>
                    </a:lnTo>
                    <a:lnTo>
                      <a:pt x="139" y="3"/>
                    </a:lnTo>
                    <a:lnTo>
                      <a:pt x="140" y="4"/>
                    </a:lnTo>
                    <a:lnTo>
                      <a:pt x="140" y="4"/>
                    </a:lnTo>
                    <a:lnTo>
                      <a:pt x="141" y="4"/>
                    </a:lnTo>
                    <a:lnTo>
                      <a:pt x="142" y="4"/>
                    </a:lnTo>
                    <a:lnTo>
                      <a:pt x="142" y="5"/>
                    </a:lnTo>
                    <a:lnTo>
                      <a:pt x="143" y="5"/>
                    </a:lnTo>
                    <a:lnTo>
                      <a:pt x="144" y="6"/>
                    </a:lnTo>
                    <a:lnTo>
                      <a:pt x="145" y="7"/>
                    </a:lnTo>
                    <a:lnTo>
                      <a:pt x="146" y="9"/>
                    </a:lnTo>
                    <a:lnTo>
                      <a:pt x="146" y="10"/>
                    </a:lnTo>
                    <a:lnTo>
                      <a:pt x="148" y="12"/>
                    </a:lnTo>
                    <a:lnTo>
                      <a:pt x="148" y="14"/>
                    </a:lnTo>
                    <a:lnTo>
                      <a:pt x="149" y="15"/>
                    </a:lnTo>
                    <a:lnTo>
                      <a:pt x="150" y="16"/>
                    </a:lnTo>
                    <a:lnTo>
                      <a:pt x="151" y="17"/>
                    </a:lnTo>
                    <a:lnTo>
                      <a:pt x="152" y="18"/>
                    </a:lnTo>
                    <a:lnTo>
                      <a:pt x="152" y="18"/>
                    </a:lnTo>
                    <a:lnTo>
                      <a:pt x="153" y="18"/>
                    </a:lnTo>
                    <a:lnTo>
                      <a:pt x="153" y="18"/>
                    </a:lnTo>
                    <a:lnTo>
                      <a:pt x="154" y="18"/>
                    </a:lnTo>
                    <a:lnTo>
                      <a:pt x="154" y="17"/>
                    </a:lnTo>
                    <a:lnTo>
                      <a:pt x="155" y="17"/>
                    </a:lnTo>
                    <a:lnTo>
                      <a:pt x="156" y="17"/>
                    </a:lnTo>
                    <a:lnTo>
                      <a:pt x="157" y="17"/>
                    </a:lnTo>
                    <a:lnTo>
                      <a:pt x="158" y="17"/>
                    </a:lnTo>
                    <a:lnTo>
                      <a:pt x="159" y="17"/>
                    </a:lnTo>
                    <a:lnTo>
                      <a:pt x="160" y="17"/>
                    </a:lnTo>
                    <a:lnTo>
                      <a:pt x="161" y="18"/>
                    </a:lnTo>
                    <a:lnTo>
                      <a:pt x="162" y="18"/>
                    </a:lnTo>
                    <a:lnTo>
                      <a:pt x="163" y="19"/>
                    </a:lnTo>
                    <a:lnTo>
                      <a:pt x="164" y="19"/>
                    </a:lnTo>
                    <a:lnTo>
                      <a:pt x="165" y="20"/>
                    </a:lnTo>
                    <a:lnTo>
                      <a:pt x="165" y="20"/>
                    </a:lnTo>
                    <a:lnTo>
                      <a:pt x="166" y="21"/>
                    </a:lnTo>
                    <a:lnTo>
                      <a:pt x="166" y="21"/>
                    </a:lnTo>
                    <a:lnTo>
                      <a:pt x="166" y="22"/>
                    </a:lnTo>
                    <a:lnTo>
                      <a:pt x="165" y="24"/>
                    </a:lnTo>
                    <a:lnTo>
                      <a:pt x="164" y="26"/>
                    </a:lnTo>
                    <a:lnTo>
                      <a:pt x="164" y="28"/>
                    </a:lnTo>
                    <a:lnTo>
                      <a:pt x="163" y="30"/>
                    </a:lnTo>
                    <a:lnTo>
                      <a:pt x="163" y="31"/>
                    </a:lnTo>
                    <a:lnTo>
                      <a:pt x="163" y="32"/>
                    </a:lnTo>
                    <a:lnTo>
                      <a:pt x="163" y="33"/>
                    </a:lnTo>
                    <a:lnTo>
                      <a:pt x="162" y="35"/>
                    </a:lnTo>
                    <a:lnTo>
                      <a:pt x="162" y="36"/>
                    </a:lnTo>
                    <a:lnTo>
                      <a:pt x="162" y="37"/>
                    </a:lnTo>
                    <a:lnTo>
                      <a:pt x="163" y="39"/>
                    </a:lnTo>
                    <a:lnTo>
                      <a:pt x="163" y="40"/>
                    </a:lnTo>
                    <a:lnTo>
                      <a:pt x="163" y="42"/>
                    </a:lnTo>
                    <a:lnTo>
                      <a:pt x="163" y="42"/>
                    </a:lnTo>
                    <a:lnTo>
                      <a:pt x="163" y="43"/>
                    </a:lnTo>
                    <a:lnTo>
                      <a:pt x="164" y="43"/>
                    </a:lnTo>
                    <a:lnTo>
                      <a:pt x="164" y="44"/>
                    </a:lnTo>
                    <a:lnTo>
                      <a:pt x="165" y="45"/>
                    </a:lnTo>
                    <a:lnTo>
                      <a:pt x="166" y="46"/>
                    </a:lnTo>
                    <a:lnTo>
                      <a:pt x="166" y="46"/>
                    </a:lnTo>
                    <a:lnTo>
                      <a:pt x="166" y="47"/>
                    </a:lnTo>
                    <a:lnTo>
                      <a:pt x="167" y="47"/>
                    </a:lnTo>
                    <a:lnTo>
                      <a:pt x="167" y="48"/>
                    </a:lnTo>
                    <a:lnTo>
                      <a:pt x="167" y="48"/>
                    </a:lnTo>
                    <a:lnTo>
                      <a:pt x="167" y="49"/>
                    </a:lnTo>
                    <a:lnTo>
                      <a:pt x="167" y="49"/>
                    </a:lnTo>
                    <a:lnTo>
                      <a:pt x="166" y="50"/>
                    </a:lnTo>
                    <a:lnTo>
                      <a:pt x="166" y="51"/>
                    </a:lnTo>
                    <a:lnTo>
                      <a:pt x="165" y="51"/>
                    </a:lnTo>
                    <a:lnTo>
                      <a:pt x="164" y="52"/>
                    </a:lnTo>
                    <a:lnTo>
                      <a:pt x="164" y="53"/>
                    </a:lnTo>
                    <a:lnTo>
                      <a:pt x="163" y="54"/>
                    </a:lnTo>
                    <a:lnTo>
                      <a:pt x="163" y="54"/>
                    </a:lnTo>
                    <a:lnTo>
                      <a:pt x="163" y="55"/>
                    </a:lnTo>
                    <a:lnTo>
                      <a:pt x="162" y="56"/>
                    </a:lnTo>
                    <a:lnTo>
                      <a:pt x="162" y="58"/>
                    </a:lnTo>
                    <a:lnTo>
                      <a:pt x="161" y="59"/>
                    </a:lnTo>
                    <a:lnTo>
                      <a:pt x="161" y="61"/>
                    </a:lnTo>
                    <a:lnTo>
                      <a:pt x="161" y="62"/>
                    </a:lnTo>
                    <a:lnTo>
                      <a:pt x="161" y="64"/>
                    </a:lnTo>
                    <a:lnTo>
                      <a:pt x="161" y="66"/>
                    </a:lnTo>
                    <a:lnTo>
                      <a:pt x="161" y="68"/>
                    </a:lnTo>
                    <a:lnTo>
                      <a:pt x="161" y="70"/>
                    </a:lnTo>
                    <a:lnTo>
                      <a:pt x="161" y="72"/>
                    </a:lnTo>
                    <a:lnTo>
                      <a:pt x="161" y="75"/>
                    </a:lnTo>
                    <a:lnTo>
                      <a:pt x="161" y="77"/>
                    </a:lnTo>
                    <a:lnTo>
                      <a:pt x="161" y="80"/>
                    </a:lnTo>
                    <a:lnTo>
                      <a:pt x="163" y="81"/>
                    </a:lnTo>
                    <a:lnTo>
                      <a:pt x="164" y="82"/>
                    </a:lnTo>
                    <a:lnTo>
                      <a:pt x="165" y="83"/>
                    </a:lnTo>
                    <a:lnTo>
                      <a:pt x="167" y="84"/>
                    </a:lnTo>
                    <a:lnTo>
                      <a:pt x="168" y="84"/>
                    </a:lnTo>
                    <a:lnTo>
                      <a:pt x="170" y="85"/>
                    </a:lnTo>
                    <a:lnTo>
                      <a:pt x="173" y="87"/>
                    </a:lnTo>
                    <a:lnTo>
                      <a:pt x="174" y="87"/>
                    </a:lnTo>
                    <a:lnTo>
                      <a:pt x="176" y="88"/>
                    </a:lnTo>
                    <a:lnTo>
                      <a:pt x="177" y="89"/>
                    </a:lnTo>
                    <a:lnTo>
                      <a:pt x="179" y="90"/>
                    </a:lnTo>
                    <a:lnTo>
                      <a:pt x="180" y="91"/>
                    </a:lnTo>
                    <a:lnTo>
                      <a:pt x="181" y="92"/>
                    </a:lnTo>
                    <a:lnTo>
                      <a:pt x="182" y="94"/>
                    </a:lnTo>
                    <a:lnTo>
                      <a:pt x="183" y="95"/>
                    </a:lnTo>
                    <a:lnTo>
                      <a:pt x="183" y="96"/>
                    </a:lnTo>
                    <a:lnTo>
                      <a:pt x="183" y="97"/>
                    </a:lnTo>
                    <a:lnTo>
                      <a:pt x="183" y="99"/>
                    </a:lnTo>
                    <a:lnTo>
                      <a:pt x="183" y="101"/>
                    </a:lnTo>
                    <a:lnTo>
                      <a:pt x="183" y="103"/>
                    </a:lnTo>
                    <a:lnTo>
                      <a:pt x="183" y="104"/>
                    </a:lnTo>
                    <a:lnTo>
                      <a:pt x="183" y="105"/>
                    </a:lnTo>
                    <a:lnTo>
                      <a:pt x="183" y="106"/>
                    </a:lnTo>
                    <a:lnTo>
                      <a:pt x="183" y="107"/>
                    </a:lnTo>
                    <a:lnTo>
                      <a:pt x="182" y="108"/>
                    </a:lnTo>
                    <a:lnTo>
                      <a:pt x="182" y="109"/>
                    </a:lnTo>
                    <a:lnTo>
                      <a:pt x="182" y="109"/>
                    </a:lnTo>
                    <a:lnTo>
                      <a:pt x="181" y="110"/>
                    </a:lnTo>
                    <a:lnTo>
                      <a:pt x="180" y="110"/>
                    </a:lnTo>
                    <a:lnTo>
                      <a:pt x="179" y="110"/>
                    </a:lnTo>
                    <a:lnTo>
                      <a:pt x="178" y="110"/>
                    </a:lnTo>
                    <a:lnTo>
                      <a:pt x="177" y="109"/>
                    </a:lnTo>
                    <a:lnTo>
                      <a:pt x="175" y="109"/>
                    </a:lnTo>
                    <a:lnTo>
                      <a:pt x="174" y="108"/>
                    </a:lnTo>
                    <a:lnTo>
                      <a:pt x="172" y="107"/>
                    </a:lnTo>
                    <a:lnTo>
                      <a:pt x="171" y="107"/>
                    </a:lnTo>
                    <a:lnTo>
                      <a:pt x="169" y="106"/>
                    </a:lnTo>
                    <a:lnTo>
                      <a:pt x="168" y="105"/>
                    </a:lnTo>
                    <a:lnTo>
                      <a:pt x="167" y="103"/>
                    </a:lnTo>
                    <a:lnTo>
                      <a:pt x="166" y="102"/>
                    </a:lnTo>
                    <a:lnTo>
                      <a:pt x="165" y="101"/>
                    </a:lnTo>
                    <a:lnTo>
                      <a:pt x="164" y="100"/>
                    </a:lnTo>
                    <a:lnTo>
                      <a:pt x="162" y="97"/>
                    </a:lnTo>
                    <a:lnTo>
                      <a:pt x="161" y="96"/>
                    </a:lnTo>
                    <a:lnTo>
                      <a:pt x="160" y="95"/>
                    </a:lnTo>
                    <a:lnTo>
                      <a:pt x="159" y="95"/>
                    </a:lnTo>
                    <a:lnTo>
                      <a:pt x="159" y="95"/>
                    </a:lnTo>
                    <a:lnTo>
                      <a:pt x="158" y="95"/>
                    </a:lnTo>
                    <a:lnTo>
                      <a:pt x="158" y="96"/>
                    </a:lnTo>
                    <a:lnTo>
                      <a:pt x="158" y="96"/>
                    </a:lnTo>
                    <a:lnTo>
                      <a:pt x="158" y="97"/>
                    </a:lnTo>
                    <a:lnTo>
                      <a:pt x="157" y="98"/>
                    </a:lnTo>
                    <a:lnTo>
                      <a:pt x="157" y="98"/>
                    </a:lnTo>
                    <a:lnTo>
                      <a:pt x="157" y="99"/>
                    </a:lnTo>
                    <a:lnTo>
                      <a:pt x="156" y="99"/>
                    </a:lnTo>
                    <a:lnTo>
                      <a:pt x="156" y="100"/>
                    </a:lnTo>
                    <a:lnTo>
                      <a:pt x="156" y="100"/>
                    </a:lnTo>
                    <a:lnTo>
                      <a:pt x="155" y="100"/>
                    </a:lnTo>
                    <a:lnTo>
                      <a:pt x="155" y="100"/>
                    </a:lnTo>
                    <a:lnTo>
                      <a:pt x="151" y="99"/>
                    </a:lnTo>
                    <a:lnTo>
                      <a:pt x="148" y="98"/>
                    </a:lnTo>
                    <a:lnTo>
                      <a:pt x="146" y="97"/>
                    </a:lnTo>
                    <a:lnTo>
                      <a:pt x="144" y="96"/>
                    </a:lnTo>
                    <a:lnTo>
                      <a:pt x="143" y="96"/>
                    </a:lnTo>
                    <a:lnTo>
                      <a:pt x="141" y="95"/>
                    </a:lnTo>
                    <a:lnTo>
                      <a:pt x="139" y="96"/>
                    </a:lnTo>
                    <a:lnTo>
                      <a:pt x="136" y="97"/>
                    </a:lnTo>
                    <a:lnTo>
                      <a:pt x="135" y="97"/>
                    </a:lnTo>
                    <a:lnTo>
                      <a:pt x="134" y="97"/>
                    </a:lnTo>
                    <a:lnTo>
                      <a:pt x="132" y="98"/>
                    </a:lnTo>
                    <a:lnTo>
                      <a:pt x="131" y="98"/>
                    </a:lnTo>
                    <a:lnTo>
                      <a:pt x="129" y="98"/>
                    </a:lnTo>
                    <a:lnTo>
                      <a:pt x="128" y="98"/>
                    </a:lnTo>
                    <a:lnTo>
                      <a:pt x="126" y="98"/>
                    </a:lnTo>
                    <a:lnTo>
                      <a:pt x="125" y="98"/>
                    </a:lnTo>
                    <a:lnTo>
                      <a:pt x="123" y="98"/>
                    </a:lnTo>
                    <a:lnTo>
                      <a:pt x="121" y="98"/>
                    </a:lnTo>
                    <a:lnTo>
                      <a:pt x="120" y="98"/>
                    </a:lnTo>
                    <a:lnTo>
                      <a:pt x="118" y="98"/>
                    </a:lnTo>
                    <a:lnTo>
                      <a:pt x="118" y="97"/>
                    </a:lnTo>
                    <a:lnTo>
                      <a:pt x="117" y="97"/>
                    </a:lnTo>
                    <a:lnTo>
                      <a:pt x="117" y="96"/>
                    </a:lnTo>
                    <a:lnTo>
                      <a:pt x="117" y="95"/>
                    </a:lnTo>
                    <a:lnTo>
                      <a:pt x="116" y="95"/>
                    </a:lnTo>
                    <a:lnTo>
                      <a:pt x="116" y="94"/>
                    </a:lnTo>
                    <a:lnTo>
                      <a:pt x="116" y="93"/>
                    </a:lnTo>
                    <a:lnTo>
                      <a:pt x="116" y="93"/>
                    </a:lnTo>
                    <a:lnTo>
                      <a:pt x="116" y="92"/>
                    </a:lnTo>
                    <a:lnTo>
                      <a:pt x="116" y="91"/>
                    </a:lnTo>
                    <a:lnTo>
                      <a:pt x="117" y="91"/>
                    </a:lnTo>
                    <a:lnTo>
                      <a:pt x="117" y="91"/>
                    </a:lnTo>
                    <a:lnTo>
                      <a:pt x="117" y="91"/>
                    </a:lnTo>
                    <a:lnTo>
                      <a:pt x="117" y="91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8" y="89"/>
                    </a:lnTo>
                    <a:lnTo>
                      <a:pt x="118" y="89"/>
                    </a:lnTo>
                    <a:lnTo>
                      <a:pt x="118" y="88"/>
                    </a:lnTo>
                    <a:lnTo>
                      <a:pt x="118" y="87"/>
                    </a:lnTo>
                    <a:lnTo>
                      <a:pt x="118" y="85"/>
                    </a:lnTo>
                    <a:lnTo>
                      <a:pt x="118" y="83"/>
                    </a:lnTo>
                    <a:lnTo>
                      <a:pt x="118" y="82"/>
                    </a:lnTo>
                    <a:lnTo>
                      <a:pt x="118" y="81"/>
                    </a:lnTo>
                    <a:lnTo>
                      <a:pt x="118" y="81"/>
                    </a:lnTo>
                    <a:lnTo>
                      <a:pt x="118" y="81"/>
                    </a:lnTo>
                    <a:lnTo>
                      <a:pt x="118" y="80"/>
                    </a:lnTo>
                    <a:lnTo>
                      <a:pt x="117" y="80"/>
                    </a:lnTo>
                    <a:lnTo>
                      <a:pt x="117" y="80"/>
                    </a:lnTo>
                    <a:lnTo>
                      <a:pt x="117" y="80"/>
                    </a:lnTo>
                    <a:lnTo>
                      <a:pt x="116" y="80"/>
                    </a:lnTo>
                    <a:lnTo>
                      <a:pt x="116" y="77"/>
                    </a:lnTo>
                    <a:lnTo>
                      <a:pt x="116" y="76"/>
                    </a:lnTo>
                    <a:lnTo>
                      <a:pt x="116" y="75"/>
                    </a:lnTo>
                    <a:lnTo>
                      <a:pt x="116" y="74"/>
                    </a:lnTo>
                    <a:lnTo>
                      <a:pt x="116" y="73"/>
                    </a:lnTo>
                    <a:lnTo>
                      <a:pt x="116" y="72"/>
                    </a:lnTo>
                    <a:lnTo>
                      <a:pt x="116" y="71"/>
                    </a:lnTo>
                    <a:lnTo>
                      <a:pt x="116" y="70"/>
                    </a:lnTo>
                    <a:lnTo>
                      <a:pt x="115" y="70"/>
                    </a:lnTo>
                    <a:lnTo>
                      <a:pt x="115" y="69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3" y="67"/>
                    </a:lnTo>
                    <a:lnTo>
                      <a:pt x="112" y="67"/>
                    </a:lnTo>
                    <a:lnTo>
                      <a:pt x="111" y="67"/>
                    </a:lnTo>
                    <a:lnTo>
                      <a:pt x="111" y="66"/>
                    </a:lnTo>
                    <a:lnTo>
                      <a:pt x="111" y="66"/>
                    </a:lnTo>
                    <a:lnTo>
                      <a:pt x="111" y="65"/>
                    </a:lnTo>
                    <a:lnTo>
                      <a:pt x="111" y="65"/>
                    </a:lnTo>
                    <a:lnTo>
                      <a:pt x="111" y="65"/>
                    </a:lnTo>
                    <a:lnTo>
                      <a:pt x="110" y="65"/>
                    </a:lnTo>
                    <a:lnTo>
                      <a:pt x="110" y="65"/>
                    </a:lnTo>
                    <a:lnTo>
                      <a:pt x="110" y="65"/>
                    </a:lnTo>
                    <a:lnTo>
                      <a:pt x="109" y="65"/>
                    </a:lnTo>
                    <a:lnTo>
                      <a:pt x="108" y="65"/>
                    </a:lnTo>
                    <a:lnTo>
                      <a:pt x="107" y="64"/>
                    </a:lnTo>
                    <a:lnTo>
                      <a:pt x="106" y="64"/>
                    </a:lnTo>
                    <a:lnTo>
                      <a:pt x="105" y="64"/>
                    </a:lnTo>
                    <a:lnTo>
                      <a:pt x="104" y="63"/>
                    </a:lnTo>
                    <a:lnTo>
                      <a:pt x="104" y="63"/>
                    </a:lnTo>
                    <a:lnTo>
                      <a:pt x="103" y="63"/>
                    </a:lnTo>
                    <a:lnTo>
                      <a:pt x="103" y="63"/>
                    </a:lnTo>
                    <a:lnTo>
                      <a:pt x="102" y="63"/>
                    </a:lnTo>
                    <a:lnTo>
                      <a:pt x="101" y="64"/>
                    </a:lnTo>
                    <a:lnTo>
                      <a:pt x="101" y="64"/>
                    </a:lnTo>
                    <a:lnTo>
                      <a:pt x="100" y="64"/>
                    </a:lnTo>
                    <a:lnTo>
                      <a:pt x="100" y="65"/>
                    </a:lnTo>
                    <a:lnTo>
                      <a:pt x="99" y="65"/>
                    </a:lnTo>
                    <a:lnTo>
                      <a:pt x="99" y="65"/>
                    </a:lnTo>
                    <a:lnTo>
                      <a:pt x="99" y="65"/>
                    </a:lnTo>
                    <a:lnTo>
                      <a:pt x="98" y="65"/>
                    </a:lnTo>
                    <a:lnTo>
                      <a:pt x="98" y="65"/>
                    </a:lnTo>
                    <a:lnTo>
                      <a:pt x="98" y="66"/>
                    </a:lnTo>
                    <a:lnTo>
                      <a:pt x="98" y="66"/>
                    </a:lnTo>
                    <a:lnTo>
                      <a:pt x="98" y="67"/>
                    </a:lnTo>
                    <a:lnTo>
                      <a:pt x="97" y="67"/>
                    </a:lnTo>
                    <a:lnTo>
                      <a:pt x="96" y="67"/>
                    </a:lnTo>
                    <a:lnTo>
                      <a:pt x="96" y="67"/>
                    </a:lnTo>
                    <a:lnTo>
                      <a:pt x="95" y="67"/>
                    </a:lnTo>
                    <a:lnTo>
                      <a:pt x="95" y="66"/>
                    </a:lnTo>
                    <a:lnTo>
                      <a:pt x="95" y="66"/>
                    </a:lnTo>
                    <a:lnTo>
                      <a:pt x="95" y="65"/>
                    </a:lnTo>
                    <a:lnTo>
                      <a:pt x="94" y="65"/>
                    </a:lnTo>
                    <a:lnTo>
                      <a:pt x="94" y="65"/>
                    </a:lnTo>
                    <a:lnTo>
                      <a:pt x="94" y="65"/>
                    </a:lnTo>
                    <a:lnTo>
                      <a:pt x="93" y="65"/>
                    </a:lnTo>
                    <a:lnTo>
                      <a:pt x="93" y="65"/>
                    </a:lnTo>
                    <a:lnTo>
                      <a:pt x="93" y="65"/>
                    </a:lnTo>
                    <a:lnTo>
                      <a:pt x="92" y="65"/>
                    </a:lnTo>
                    <a:lnTo>
                      <a:pt x="92" y="64"/>
                    </a:lnTo>
                    <a:lnTo>
                      <a:pt x="91" y="64"/>
                    </a:lnTo>
                    <a:lnTo>
                      <a:pt x="91" y="64"/>
                    </a:lnTo>
                    <a:lnTo>
                      <a:pt x="90" y="63"/>
                    </a:lnTo>
                    <a:lnTo>
                      <a:pt x="90" y="63"/>
                    </a:lnTo>
                    <a:lnTo>
                      <a:pt x="90" y="63"/>
                    </a:lnTo>
                    <a:lnTo>
                      <a:pt x="90" y="62"/>
                    </a:lnTo>
                    <a:lnTo>
                      <a:pt x="89" y="62"/>
                    </a:lnTo>
                    <a:lnTo>
                      <a:pt x="89" y="62"/>
                    </a:lnTo>
                    <a:lnTo>
                      <a:pt x="89" y="62"/>
                    </a:lnTo>
                    <a:lnTo>
                      <a:pt x="89" y="62"/>
                    </a:lnTo>
                    <a:lnTo>
                      <a:pt x="88" y="62"/>
                    </a:lnTo>
                    <a:lnTo>
                      <a:pt x="88" y="62"/>
                    </a:lnTo>
                    <a:lnTo>
                      <a:pt x="88" y="61"/>
                    </a:lnTo>
                    <a:lnTo>
                      <a:pt x="88" y="60"/>
                    </a:lnTo>
                    <a:lnTo>
                      <a:pt x="87" y="60"/>
                    </a:lnTo>
                    <a:lnTo>
                      <a:pt x="87" y="59"/>
                    </a:lnTo>
                    <a:lnTo>
                      <a:pt x="86" y="59"/>
                    </a:lnTo>
                    <a:lnTo>
                      <a:pt x="86" y="59"/>
                    </a:lnTo>
                    <a:lnTo>
                      <a:pt x="85" y="59"/>
                    </a:lnTo>
                    <a:lnTo>
                      <a:pt x="85" y="58"/>
                    </a:lnTo>
                    <a:lnTo>
                      <a:pt x="85" y="58"/>
                    </a:lnTo>
                    <a:lnTo>
                      <a:pt x="85" y="58"/>
                    </a:lnTo>
                    <a:lnTo>
                      <a:pt x="85" y="57"/>
                    </a:lnTo>
                    <a:lnTo>
                      <a:pt x="84" y="57"/>
                    </a:lnTo>
                    <a:lnTo>
                      <a:pt x="84" y="57"/>
                    </a:lnTo>
                    <a:lnTo>
                      <a:pt x="84" y="57"/>
                    </a:lnTo>
                    <a:lnTo>
                      <a:pt x="83" y="57"/>
                    </a:lnTo>
                    <a:lnTo>
                      <a:pt x="83" y="57"/>
                    </a:lnTo>
                    <a:lnTo>
                      <a:pt x="83" y="57"/>
                    </a:lnTo>
                    <a:lnTo>
                      <a:pt x="82" y="57"/>
                    </a:lnTo>
                    <a:lnTo>
                      <a:pt x="82" y="57"/>
                    </a:lnTo>
                    <a:lnTo>
                      <a:pt x="81" y="57"/>
                    </a:lnTo>
                    <a:lnTo>
                      <a:pt x="82" y="56"/>
                    </a:lnTo>
                    <a:lnTo>
                      <a:pt x="81" y="56"/>
                    </a:lnTo>
                    <a:lnTo>
                      <a:pt x="81" y="55"/>
                    </a:lnTo>
                    <a:lnTo>
                      <a:pt x="81" y="55"/>
                    </a:lnTo>
                    <a:lnTo>
                      <a:pt x="81" y="55"/>
                    </a:lnTo>
                    <a:lnTo>
                      <a:pt x="80" y="55"/>
                    </a:lnTo>
                    <a:lnTo>
                      <a:pt x="80" y="55"/>
                    </a:lnTo>
                    <a:lnTo>
                      <a:pt x="80" y="55"/>
                    </a:lnTo>
                    <a:lnTo>
                      <a:pt x="78" y="55"/>
                    </a:lnTo>
                    <a:lnTo>
                      <a:pt x="76" y="55"/>
                    </a:lnTo>
                    <a:lnTo>
                      <a:pt x="74" y="55"/>
                    </a:lnTo>
                    <a:lnTo>
                      <a:pt x="71" y="55"/>
                    </a:lnTo>
                    <a:lnTo>
                      <a:pt x="71" y="55"/>
                    </a:lnTo>
                    <a:lnTo>
                      <a:pt x="71" y="55"/>
                    </a:lnTo>
                    <a:lnTo>
                      <a:pt x="70" y="55"/>
                    </a:lnTo>
                    <a:lnTo>
                      <a:pt x="70" y="55"/>
                    </a:lnTo>
                    <a:lnTo>
                      <a:pt x="70" y="55"/>
                    </a:lnTo>
                    <a:lnTo>
                      <a:pt x="70" y="56"/>
                    </a:lnTo>
                    <a:lnTo>
                      <a:pt x="70" y="56"/>
                    </a:lnTo>
                    <a:lnTo>
                      <a:pt x="70" y="57"/>
                    </a:lnTo>
                    <a:lnTo>
                      <a:pt x="69" y="56"/>
                    </a:lnTo>
                    <a:lnTo>
                      <a:pt x="68" y="56"/>
                    </a:lnTo>
                    <a:lnTo>
                      <a:pt x="68" y="56"/>
                    </a:lnTo>
                    <a:lnTo>
                      <a:pt x="67" y="56"/>
                    </a:lnTo>
                    <a:lnTo>
                      <a:pt x="67" y="56"/>
                    </a:lnTo>
                    <a:lnTo>
                      <a:pt x="66" y="57"/>
                    </a:lnTo>
                    <a:lnTo>
                      <a:pt x="65" y="57"/>
                    </a:lnTo>
                    <a:lnTo>
                      <a:pt x="65" y="58"/>
                    </a:lnTo>
                    <a:lnTo>
                      <a:pt x="64" y="58"/>
                    </a:lnTo>
                    <a:lnTo>
                      <a:pt x="64" y="58"/>
                    </a:lnTo>
                    <a:lnTo>
                      <a:pt x="63" y="58"/>
                    </a:lnTo>
                    <a:lnTo>
                      <a:pt x="63" y="58"/>
                    </a:lnTo>
                    <a:lnTo>
                      <a:pt x="62" y="58"/>
                    </a:lnTo>
                    <a:lnTo>
                      <a:pt x="61" y="58"/>
                    </a:lnTo>
                    <a:lnTo>
                      <a:pt x="61" y="58"/>
                    </a:lnTo>
                    <a:lnTo>
                      <a:pt x="61" y="58"/>
                    </a:lnTo>
                    <a:lnTo>
                      <a:pt x="60" y="58"/>
                    </a:lnTo>
                    <a:lnTo>
                      <a:pt x="60" y="59"/>
                    </a:lnTo>
                    <a:lnTo>
                      <a:pt x="60" y="59"/>
                    </a:lnTo>
                    <a:lnTo>
                      <a:pt x="60" y="59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59" y="60"/>
                    </a:lnTo>
                    <a:lnTo>
                      <a:pt x="58" y="60"/>
                    </a:lnTo>
                    <a:lnTo>
                      <a:pt x="57" y="60"/>
                    </a:lnTo>
                    <a:lnTo>
                      <a:pt x="56" y="60"/>
                    </a:lnTo>
                    <a:lnTo>
                      <a:pt x="56" y="60"/>
                    </a:lnTo>
                    <a:lnTo>
                      <a:pt x="56" y="60"/>
                    </a:lnTo>
                    <a:lnTo>
                      <a:pt x="55" y="60"/>
                    </a:lnTo>
                    <a:lnTo>
                      <a:pt x="55" y="60"/>
                    </a:lnTo>
                    <a:lnTo>
                      <a:pt x="55" y="60"/>
                    </a:lnTo>
                    <a:lnTo>
                      <a:pt x="55" y="61"/>
                    </a:lnTo>
                    <a:lnTo>
                      <a:pt x="55" y="61"/>
                    </a:lnTo>
                    <a:lnTo>
                      <a:pt x="55" y="62"/>
                    </a:lnTo>
                    <a:lnTo>
                      <a:pt x="54" y="62"/>
                    </a:lnTo>
                    <a:lnTo>
                      <a:pt x="53" y="62"/>
                    </a:lnTo>
                    <a:lnTo>
                      <a:pt x="52" y="62"/>
                    </a:lnTo>
                    <a:lnTo>
                      <a:pt x="51" y="62"/>
                    </a:lnTo>
                    <a:lnTo>
                      <a:pt x="51" y="61"/>
                    </a:lnTo>
                    <a:lnTo>
                      <a:pt x="51" y="61"/>
                    </a:lnTo>
                    <a:lnTo>
                      <a:pt x="50" y="62"/>
                    </a:lnTo>
                    <a:lnTo>
                      <a:pt x="50" y="62"/>
                    </a:lnTo>
                    <a:lnTo>
                      <a:pt x="50" y="62"/>
                    </a:lnTo>
                    <a:lnTo>
                      <a:pt x="50" y="62"/>
                    </a:lnTo>
                    <a:lnTo>
                      <a:pt x="50" y="63"/>
                    </a:lnTo>
                    <a:lnTo>
                      <a:pt x="50" y="63"/>
                    </a:lnTo>
                    <a:lnTo>
                      <a:pt x="49" y="64"/>
                    </a:lnTo>
                    <a:lnTo>
                      <a:pt x="48" y="64"/>
                    </a:lnTo>
                    <a:lnTo>
                      <a:pt x="46" y="64"/>
                    </a:lnTo>
                    <a:lnTo>
                      <a:pt x="45" y="65"/>
                    </a:lnTo>
                    <a:lnTo>
                      <a:pt x="43" y="65"/>
                    </a:lnTo>
                    <a:lnTo>
                      <a:pt x="42" y="65"/>
                    </a:lnTo>
                    <a:lnTo>
                      <a:pt x="39" y="65"/>
                    </a:lnTo>
                    <a:lnTo>
                      <a:pt x="36" y="65"/>
                    </a:lnTo>
                    <a:lnTo>
                      <a:pt x="35" y="65"/>
                    </a:lnTo>
                    <a:lnTo>
                      <a:pt x="33" y="65"/>
                    </a:lnTo>
                    <a:lnTo>
                      <a:pt x="32" y="65"/>
                    </a:lnTo>
                    <a:lnTo>
                      <a:pt x="30" y="66"/>
                    </a:lnTo>
                    <a:lnTo>
                      <a:pt x="29" y="66"/>
                    </a:lnTo>
                    <a:lnTo>
                      <a:pt x="28" y="67"/>
                    </a:lnTo>
                    <a:lnTo>
                      <a:pt x="28" y="66"/>
                    </a:lnTo>
                    <a:lnTo>
                      <a:pt x="28" y="65"/>
                    </a:lnTo>
                    <a:lnTo>
                      <a:pt x="27" y="65"/>
                    </a:lnTo>
                    <a:lnTo>
                      <a:pt x="27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5" y="64"/>
                    </a:lnTo>
                    <a:lnTo>
                      <a:pt x="25" y="63"/>
                    </a:lnTo>
                    <a:lnTo>
                      <a:pt x="24" y="63"/>
                    </a:lnTo>
                    <a:lnTo>
                      <a:pt x="23" y="62"/>
                    </a:lnTo>
                    <a:lnTo>
                      <a:pt x="22" y="62"/>
                    </a:lnTo>
                    <a:lnTo>
                      <a:pt x="21" y="61"/>
                    </a:lnTo>
                    <a:lnTo>
                      <a:pt x="21" y="61"/>
                    </a:lnTo>
                    <a:lnTo>
                      <a:pt x="20" y="60"/>
                    </a:lnTo>
                    <a:lnTo>
                      <a:pt x="20" y="60"/>
                    </a:lnTo>
                    <a:lnTo>
                      <a:pt x="20" y="59"/>
                    </a:lnTo>
                    <a:lnTo>
                      <a:pt x="20" y="59"/>
                    </a:lnTo>
                    <a:lnTo>
                      <a:pt x="20" y="58"/>
                    </a:lnTo>
                    <a:lnTo>
                      <a:pt x="20" y="57"/>
                    </a:lnTo>
                    <a:lnTo>
                      <a:pt x="20" y="57"/>
                    </a:lnTo>
                    <a:lnTo>
                      <a:pt x="21" y="57"/>
                    </a:lnTo>
                    <a:lnTo>
                      <a:pt x="21" y="57"/>
                    </a:lnTo>
                    <a:lnTo>
                      <a:pt x="22" y="57"/>
                    </a:lnTo>
                    <a:lnTo>
                      <a:pt x="23" y="58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5" y="59"/>
                    </a:lnTo>
                    <a:lnTo>
                      <a:pt x="26" y="59"/>
                    </a:lnTo>
                    <a:lnTo>
                      <a:pt x="26" y="60"/>
                    </a:lnTo>
                    <a:lnTo>
                      <a:pt x="27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9" y="60"/>
                    </a:lnTo>
                    <a:lnTo>
                      <a:pt x="29" y="60"/>
                    </a:lnTo>
                    <a:lnTo>
                      <a:pt x="29" y="60"/>
                    </a:lnTo>
                    <a:lnTo>
                      <a:pt x="30" y="60"/>
                    </a:lnTo>
                    <a:lnTo>
                      <a:pt x="30" y="59"/>
                    </a:lnTo>
                    <a:lnTo>
                      <a:pt x="31" y="59"/>
                    </a:lnTo>
                    <a:lnTo>
                      <a:pt x="31" y="59"/>
                    </a:lnTo>
                    <a:lnTo>
                      <a:pt x="31" y="58"/>
                    </a:lnTo>
                    <a:lnTo>
                      <a:pt x="31" y="57"/>
                    </a:lnTo>
                    <a:lnTo>
                      <a:pt x="31" y="56"/>
                    </a:lnTo>
                    <a:lnTo>
                      <a:pt x="31" y="55"/>
                    </a:lnTo>
                    <a:lnTo>
                      <a:pt x="31" y="54"/>
                    </a:lnTo>
                    <a:lnTo>
                      <a:pt x="31" y="53"/>
                    </a:lnTo>
                    <a:lnTo>
                      <a:pt x="30" y="52"/>
                    </a:lnTo>
                    <a:lnTo>
                      <a:pt x="29" y="51"/>
                    </a:lnTo>
                    <a:lnTo>
                      <a:pt x="29" y="50"/>
                    </a:lnTo>
                    <a:lnTo>
                      <a:pt x="29" y="49"/>
                    </a:lnTo>
                    <a:lnTo>
                      <a:pt x="28" y="49"/>
                    </a:lnTo>
                    <a:lnTo>
                      <a:pt x="28" y="48"/>
                    </a:lnTo>
                    <a:lnTo>
                      <a:pt x="28" y="47"/>
                    </a:lnTo>
                    <a:lnTo>
                      <a:pt x="28" y="46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8" y="43"/>
                    </a:lnTo>
                    <a:lnTo>
                      <a:pt x="28" y="43"/>
                    </a:lnTo>
                    <a:lnTo>
                      <a:pt x="28" y="42"/>
                    </a:lnTo>
                    <a:lnTo>
                      <a:pt x="28" y="42"/>
                    </a:lnTo>
                    <a:lnTo>
                      <a:pt x="28" y="42"/>
                    </a:lnTo>
                    <a:lnTo>
                      <a:pt x="27" y="42"/>
                    </a:lnTo>
                    <a:lnTo>
                      <a:pt x="27" y="42"/>
                    </a:lnTo>
                    <a:lnTo>
                      <a:pt x="27" y="42"/>
                    </a:lnTo>
                    <a:lnTo>
                      <a:pt x="26" y="42"/>
                    </a:lnTo>
                    <a:lnTo>
                      <a:pt x="26" y="40"/>
                    </a:lnTo>
                    <a:lnTo>
                      <a:pt x="26" y="38"/>
                    </a:lnTo>
                    <a:lnTo>
                      <a:pt x="26" y="37"/>
                    </a:lnTo>
                    <a:lnTo>
                      <a:pt x="26" y="35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3"/>
                    </a:lnTo>
                    <a:lnTo>
                      <a:pt x="25" y="33"/>
                    </a:lnTo>
                    <a:lnTo>
                      <a:pt x="25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3" y="32"/>
                    </a:lnTo>
                    <a:lnTo>
                      <a:pt x="23" y="30"/>
                    </a:lnTo>
                    <a:lnTo>
                      <a:pt x="23" y="29"/>
                    </a:lnTo>
                    <a:lnTo>
                      <a:pt x="23" y="28"/>
                    </a:lnTo>
                    <a:lnTo>
                      <a:pt x="23" y="27"/>
                    </a:lnTo>
                    <a:lnTo>
                      <a:pt x="23" y="26"/>
                    </a:lnTo>
                    <a:lnTo>
                      <a:pt x="22" y="25"/>
                    </a:lnTo>
                    <a:lnTo>
                      <a:pt x="22" y="24"/>
                    </a:lnTo>
                    <a:lnTo>
                      <a:pt x="21" y="23"/>
                    </a:lnTo>
                    <a:lnTo>
                      <a:pt x="21" y="23"/>
                    </a:lnTo>
                    <a:lnTo>
                      <a:pt x="20" y="22"/>
                    </a:lnTo>
                    <a:lnTo>
                      <a:pt x="19" y="22"/>
                    </a:lnTo>
                    <a:lnTo>
                      <a:pt x="18" y="21"/>
                    </a:lnTo>
                    <a:lnTo>
                      <a:pt x="18" y="21"/>
                    </a:lnTo>
                    <a:lnTo>
                      <a:pt x="17" y="20"/>
                    </a:lnTo>
                    <a:lnTo>
                      <a:pt x="16" y="20"/>
                    </a:lnTo>
                    <a:lnTo>
                      <a:pt x="15" y="20"/>
                    </a:lnTo>
                    <a:lnTo>
                      <a:pt x="15" y="20"/>
                    </a:lnTo>
                    <a:lnTo>
                      <a:pt x="15" y="19"/>
                    </a:lnTo>
                    <a:lnTo>
                      <a:pt x="14" y="19"/>
                    </a:lnTo>
                    <a:lnTo>
                      <a:pt x="14" y="19"/>
                    </a:lnTo>
                    <a:lnTo>
                      <a:pt x="14" y="19"/>
                    </a:lnTo>
                    <a:lnTo>
                      <a:pt x="13" y="19"/>
                    </a:lnTo>
                    <a:lnTo>
                      <a:pt x="13" y="18"/>
                    </a:lnTo>
                    <a:lnTo>
                      <a:pt x="12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1" y="17"/>
                    </a:lnTo>
                    <a:lnTo>
                      <a:pt x="10" y="17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9" y="16"/>
                    </a:lnTo>
                    <a:lnTo>
                      <a:pt x="9" y="16"/>
                    </a:lnTo>
                    <a:lnTo>
                      <a:pt x="9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7" y="16"/>
                    </a:lnTo>
                    <a:lnTo>
                      <a:pt x="7" y="16"/>
                    </a:lnTo>
                    <a:lnTo>
                      <a:pt x="6" y="16"/>
                    </a:lnTo>
                    <a:lnTo>
                      <a:pt x="5" y="16"/>
                    </a:lnTo>
                    <a:lnTo>
                      <a:pt x="5" y="16"/>
                    </a:lnTo>
                    <a:lnTo>
                      <a:pt x="4" y="17"/>
                    </a:lnTo>
                    <a:lnTo>
                      <a:pt x="3" y="17"/>
                    </a:lnTo>
                    <a:lnTo>
                      <a:pt x="3" y="17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2" y="16"/>
                    </a:lnTo>
                    <a:lnTo>
                      <a:pt x="2" y="15"/>
                    </a:lnTo>
                    <a:lnTo>
                      <a:pt x="2" y="14"/>
                    </a:lnTo>
                    <a:lnTo>
                      <a:pt x="1" y="13"/>
                    </a:lnTo>
                    <a:lnTo>
                      <a:pt x="1" y="13"/>
                    </a:lnTo>
                    <a:lnTo>
                      <a:pt x="1" y="12"/>
                    </a:lnTo>
                    <a:lnTo>
                      <a:pt x="1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9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7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13" y="5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4" y="6"/>
                    </a:lnTo>
                    <a:lnTo>
                      <a:pt x="14" y="7"/>
                    </a:lnTo>
                    <a:lnTo>
                      <a:pt x="14" y="7"/>
                    </a:lnTo>
                    <a:lnTo>
                      <a:pt x="15" y="7"/>
                    </a:lnTo>
                    <a:lnTo>
                      <a:pt x="16" y="7"/>
                    </a:lnTo>
                    <a:lnTo>
                      <a:pt x="16" y="7"/>
                    </a:lnTo>
                    <a:lnTo>
                      <a:pt x="18" y="7"/>
                    </a:lnTo>
                    <a:lnTo>
                      <a:pt x="19" y="7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1" y="6"/>
                    </a:lnTo>
                    <a:lnTo>
                      <a:pt x="21" y="7"/>
                    </a:lnTo>
                    <a:lnTo>
                      <a:pt x="23" y="6"/>
                    </a:lnTo>
                    <a:lnTo>
                      <a:pt x="25" y="6"/>
                    </a:lnTo>
                    <a:lnTo>
                      <a:pt x="26" y="6"/>
                    </a:lnTo>
                    <a:lnTo>
                      <a:pt x="27" y="6"/>
                    </a:lnTo>
                    <a:lnTo>
                      <a:pt x="29" y="7"/>
                    </a:lnTo>
                    <a:lnTo>
                      <a:pt x="30" y="7"/>
                    </a:lnTo>
                    <a:lnTo>
                      <a:pt x="31" y="7"/>
                    </a:lnTo>
                    <a:lnTo>
                      <a:pt x="32" y="7"/>
                    </a:lnTo>
                    <a:lnTo>
                      <a:pt x="34" y="8"/>
                    </a:lnTo>
                    <a:lnTo>
                      <a:pt x="36" y="9"/>
                    </a:lnTo>
                    <a:lnTo>
                      <a:pt x="38" y="10"/>
                    </a:lnTo>
                    <a:lnTo>
                      <a:pt x="40" y="11"/>
                    </a:lnTo>
                    <a:lnTo>
                      <a:pt x="42" y="11"/>
                    </a:lnTo>
                    <a:lnTo>
                      <a:pt x="44" y="12"/>
                    </a:lnTo>
                    <a:lnTo>
                      <a:pt x="46" y="13"/>
                    </a:lnTo>
                    <a:lnTo>
                      <a:pt x="48" y="14"/>
                    </a:lnTo>
                    <a:lnTo>
                      <a:pt x="49" y="14"/>
                    </a:lnTo>
                    <a:lnTo>
                      <a:pt x="50" y="14"/>
                    </a:lnTo>
                    <a:lnTo>
                      <a:pt x="51" y="15"/>
                    </a:lnTo>
                    <a:lnTo>
                      <a:pt x="53" y="15"/>
                    </a:lnTo>
                    <a:lnTo>
                      <a:pt x="54" y="15"/>
                    </a:lnTo>
                    <a:lnTo>
                      <a:pt x="55" y="15"/>
                    </a:lnTo>
                    <a:lnTo>
                      <a:pt x="56" y="15"/>
                    </a:lnTo>
                    <a:lnTo>
                      <a:pt x="58" y="15"/>
                    </a:lnTo>
                    <a:lnTo>
                      <a:pt x="59" y="15"/>
                    </a:lnTo>
                    <a:lnTo>
                      <a:pt x="60" y="14"/>
                    </a:lnTo>
                    <a:lnTo>
                      <a:pt x="61" y="14"/>
                    </a:lnTo>
                    <a:lnTo>
                      <a:pt x="61" y="14"/>
                    </a:lnTo>
                    <a:lnTo>
                      <a:pt x="62" y="13"/>
                    </a:lnTo>
                    <a:lnTo>
                      <a:pt x="63" y="13"/>
                    </a:lnTo>
                    <a:lnTo>
                      <a:pt x="64" y="12"/>
                    </a:lnTo>
                    <a:lnTo>
                      <a:pt x="65" y="10"/>
                    </a:lnTo>
                    <a:lnTo>
                      <a:pt x="65" y="10"/>
                    </a:lnTo>
                    <a:lnTo>
                      <a:pt x="66" y="9"/>
                    </a:lnTo>
                    <a:lnTo>
                      <a:pt x="67" y="9"/>
                    </a:lnTo>
                    <a:lnTo>
                      <a:pt x="68" y="9"/>
                    </a:lnTo>
                    <a:lnTo>
                      <a:pt x="69" y="8"/>
                    </a:lnTo>
                    <a:lnTo>
                      <a:pt x="70" y="8"/>
                    </a:lnTo>
                    <a:lnTo>
                      <a:pt x="73" y="8"/>
                    </a:lnTo>
                    <a:lnTo>
                      <a:pt x="76" y="8"/>
                    </a:lnTo>
                    <a:lnTo>
                      <a:pt x="78" y="8"/>
                    </a:lnTo>
                    <a:lnTo>
                      <a:pt x="81" y="8"/>
                    </a:lnTo>
                    <a:lnTo>
                      <a:pt x="82" y="7"/>
                    </a:lnTo>
                    <a:lnTo>
                      <a:pt x="83" y="7"/>
                    </a:lnTo>
                    <a:lnTo>
                      <a:pt x="84" y="6"/>
                    </a:lnTo>
                    <a:lnTo>
                      <a:pt x="84" y="6"/>
                    </a:lnTo>
                    <a:lnTo>
                      <a:pt x="85" y="5"/>
                    </a:lnTo>
                    <a:lnTo>
                      <a:pt x="86" y="5"/>
                    </a:lnTo>
                    <a:lnTo>
                      <a:pt x="87" y="4"/>
                    </a:lnTo>
                    <a:lnTo>
                      <a:pt x="88" y="4"/>
                    </a:lnTo>
                    <a:lnTo>
                      <a:pt x="90" y="3"/>
                    </a:lnTo>
                    <a:lnTo>
                      <a:pt x="91" y="3"/>
                    </a:lnTo>
                    <a:lnTo>
                      <a:pt x="92" y="3"/>
                    </a:lnTo>
                    <a:lnTo>
                      <a:pt x="94" y="3"/>
                    </a:lnTo>
                    <a:lnTo>
                      <a:pt x="95" y="3"/>
                    </a:lnTo>
                    <a:lnTo>
                      <a:pt x="97" y="3"/>
                    </a:lnTo>
                    <a:lnTo>
                      <a:pt x="98" y="3"/>
                    </a:lnTo>
                    <a:lnTo>
                      <a:pt x="100" y="3"/>
                    </a:lnTo>
                    <a:lnTo>
                      <a:pt x="100" y="4"/>
                    </a:lnTo>
                    <a:lnTo>
                      <a:pt x="100" y="4"/>
                    </a:lnTo>
                    <a:lnTo>
                      <a:pt x="100" y="4"/>
                    </a:lnTo>
                    <a:lnTo>
                      <a:pt x="100" y="5"/>
                    </a:lnTo>
                    <a:lnTo>
                      <a:pt x="100" y="5"/>
                    </a:lnTo>
                    <a:lnTo>
                      <a:pt x="101" y="5"/>
                    </a:lnTo>
                    <a:lnTo>
                      <a:pt x="101" y="5"/>
                    </a:lnTo>
                    <a:lnTo>
                      <a:pt x="101" y="5"/>
                    </a:lnTo>
                    <a:lnTo>
                      <a:pt x="102" y="5"/>
                    </a:lnTo>
                    <a:lnTo>
                      <a:pt x="103" y="6"/>
                    </a:lnTo>
                    <a:lnTo>
                      <a:pt x="104" y="6"/>
                    </a:lnTo>
                    <a:lnTo>
                      <a:pt x="105" y="7"/>
                    </a:lnTo>
                    <a:lnTo>
                      <a:pt x="106" y="8"/>
                    </a:lnTo>
                    <a:lnTo>
                      <a:pt x="107" y="10"/>
                    </a:lnTo>
                    <a:lnTo>
                      <a:pt x="108" y="11"/>
                    </a:lnTo>
                    <a:lnTo>
                      <a:pt x="110" y="13"/>
                    </a:lnTo>
                    <a:lnTo>
                      <a:pt x="110" y="13"/>
                    </a:lnTo>
                    <a:lnTo>
                      <a:pt x="111" y="14"/>
                    </a:lnTo>
                    <a:lnTo>
                      <a:pt x="112" y="14"/>
                    </a:lnTo>
                    <a:lnTo>
                      <a:pt x="113" y="15"/>
                    </a:lnTo>
                    <a:lnTo>
                      <a:pt x="113" y="15"/>
                    </a:lnTo>
                    <a:lnTo>
                      <a:pt x="113" y="15"/>
                    </a:lnTo>
                    <a:lnTo>
                      <a:pt x="113" y="16"/>
                    </a:lnTo>
                    <a:lnTo>
                      <a:pt x="113" y="16"/>
                    </a:lnTo>
                    <a:lnTo>
                      <a:pt x="114" y="16"/>
                    </a:lnTo>
                    <a:lnTo>
                      <a:pt x="114" y="16"/>
                    </a:lnTo>
                    <a:lnTo>
                      <a:pt x="114" y="16"/>
                    </a:lnTo>
                    <a:lnTo>
                      <a:pt x="114" y="16"/>
                    </a:lnTo>
                    <a:lnTo>
                      <a:pt x="115" y="16"/>
                    </a:lnTo>
                    <a:lnTo>
                      <a:pt x="115" y="15"/>
                    </a:lnTo>
                    <a:lnTo>
                      <a:pt x="115" y="15"/>
                    </a:lnTo>
                    <a:lnTo>
                      <a:pt x="116" y="13"/>
                    </a:lnTo>
                    <a:lnTo>
                      <a:pt x="118" y="11"/>
                    </a:lnTo>
                    <a:lnTo>
                      <a:pt x="120" y="9"/>
                    </a:lnTo>
                    <a:lnTo>
                      <a:pt x="121" y="7"/>
                    </a:lnTo>
                    <a:lnTo>
                      <a:pt x="122" y="7"/>
                    </a:lnTo>
                    <a:lnTo>
                      <a:pt x="122" y="7"/>
                    </a:lnTo>
                    <a:lnTo>
                      <a:pt x="122" y="6"/>
                    </a:lnTo>
                    <a:lnTo>
                      <a:pt x="123" y="6"/>
                    </a:lnTo>
                    <a:lnTo>
                      <a:pt x="123" y="6"/>
                    </a:lnTo>
                    <a:lnTo>
                      <a:pt x="123" y="6"/>
                    </a:lnTo>
                    <a:lnTo>
                      <a:pt x="123" y="5"/>
                    </a:lnTo>
                    <a:lnTo>
                      <a:pt x="123" y="5"/>
                    </a:lnTo>
                    <a:lnTo>
                      <a:pt x="123" y="4"/>
                    </a:lnTo>
                    <a:lnTo>
                      <a:pt x="123" y="3"/>
                    </a:lnTo>
                    <a:lnTo>
                      <a:pt x="124" y="2"/>
                    </a:lnTo>
                    <a:lnTo>
                      <a:pt x="124" y="2"/>
                    </a:lnTo>
                    <a:lnTo>
                      <a:pt x="124" y="1"/>
                    </a:lnTo>
                    <a:lnTo>
                      <a:pt x="125" y="1"/>
                    </a:lnTo>
                    <a:lnTo>
                      <a:pt x="126" y="0"/>
                    </a:lnTo>
                    <a:lnTo>
                      <a:pt x="126" y="0"/>
                    </a:lnTo>
                    <a:lnTo>
                      <a:pt x="128" y="0"/>
                    </a:lnTo>
                    <a:lnTo>
                      <a:pt x="129" y="1"/>
                    </a:lnTo>
                    <a:lnTo>
                      <a:pt x="130" y="1"/>
                    </a:lnTo>
                    <a:lnTo>
                      <a:pt x="131" y="1"/>
                    </a:lnTo>
                    <a:lnTo>
                      <a:pt x="133" y="2"/>
                    </a:lnTo>
                    <a:lnTo>
                      <a:pt x="134" y="2"/>
                    </a:lnTo>
                    <a:lnTo>
                      <a:pt x="134" y="2"/>
                    </a:lnTo>
                    <a:lnTo>
                      <a:pt x="135" y="2"/>
                    </a:lnTo>
                    <a:lnTo>
                      <a:pt x="136" y="2"/>
                    </a:lnTo>
                    <a:lnTo>
                      <a:pt x="137" y="2"/>
                    </a:lnTo>
                    <a:lnTo>
                      <a:pt x="138" y="2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defTabSz="914308">
                  <a:defRPr/>
                </a:pPr>
                <a:endParaRPr lang="en-US" sz="9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06" name="Freeform 10"/>
              <p:cNvSpPr>
                <a:spLocks/>
              </p:cNvSpPr>
              <p:nvPr/>
            </p:nvSpPr>
            <p:spPr bwMode="auto">
              <a:xfrm>
                <a:off x="4215092" y="3641866"/>
                <a:ext cx="1436241" cy="1165819"/>
              </a:xfrm>
              <a:custGeom>
                <a:avLst/>
                <a:gdLst/>
                <a:ahLst/>
                <a:cxnLst>
                  <a:cxn ang="0">
                    <a:pos x="142" y="6"/>
                  </a:cxn>
                  <a:cxn ang="0">
                    <a:pos x="161" y="6"/>
                  </a:cxn>
                  <a:cxn ang="0">
                    <a:pos x="176" y="26"/>
                  </a:cxn>
                  <a:cxn ang="0">
                    <a:pos x="181" y="32"/>
                  </a:cxn>
                  <a:cxn ang="0">
                    <a:pos x="186" y="35"/>
                  </a:cxn>
                  <a:cxn ang="0">
                    <a:pos x="185" y="43"/>
                  </a:cxn>
                  <a:cxn ang="0">
                    <a:pos x="191" y="44"/>
                  </a:cxn>
                  <a:cxn ang="0">
                    <a:pos x="191" y="49"/>
                  </a:cxn>
                  <a:cxn ang="0">
                    <a:pos x="189" y="49"/>
                  </a:cxn>
                  <a:cxn ang="0">
                    <a:pos x="186" y="48"/>
                  </a:cxn>
                  <a:cxn ang="0">
                    <a:pos x="183" y="50"/>
                  </a:cxn>
                  <a:cxn ang="0">
                    <a:pos x="178" y="50"/>
                  </a:cxn>
                  <a:cxn ang="0">
                    <a:pos x="173" y="47"/>
                  </a:cxn>
                  <a:cxn ang="0">
                    <a:pos x="168" y="49"/>
                  </a:cxn>
                  <a:cxn ang="0">
                    <a:pos x="163" y="51"/>
                  </a:cxn>
                  <a:cxn ang="0">
                    <a:pos x="158" y="53"/>
                  </a:cxn>
                  <a:cxn ang="0">
                    <a:pos x="155" y="55"/>
                  </a:cxn>
                  <a:cxn ang="0">
                    <a:pos x="151" y="56"/>
                  </a:cxn>
                  <a:cxn ang="0">
                    <a:pos x="148" y="58"/>
                  </a:cxn>
                  <a:cxn ang="0">
                    <a:pos x="139" y="64"/>
                  </a:cxn>
                  <a:cxn ang="0">
                    <a:pos x="137" y="68"/>
                  </a:cxn>
                  <a:cxn ang="0">
                    <a:pos x="140" y="74"/>
                  </a:cxn>
                  <a:cxn ang="0">
                    <a:pos x="148" y="75"/>
                  </a:cxn>
                  <a:cxn ang="0">
                    <a:pos x="146" y="79"/>
                  </a:cxn>
                  <a:cxn ang="0">
                    <a:pos x="148" y="87"/>
                  </a:cxn>
                  <a:cxn ang="0">
                    <a:pos x="155" y="102"/>
                  </a:cxn>
                  <a:cxn ang="0">
                    <a:pos x="158" y="106"/>
                  </a:cxn>
                  <a:cxn ang="0">
                    <a:pos x="161" y="110"/>
                  </a:cxn>
                  <a:cxn ang="0">
                    <a:pos x="162" y="118"/>
                  </a:cxn>
                  <a:cxn ang="0">
                    <a:pos x="164" y="120"/>
                  </a:cxn>
                  <a:cxn ang="0">
                    <a:pos x="157" y="123"/>
                  </a:cxn>
                  <a:cxn ang="0">
                    <a:pos x="158" y="129"/>
                  </a:cxn>
                  <a:cxn ang="0">
                    <a:pos x="154" y="130"/>
                  </a:cxn>
                  <a:cxn ang="0">
                    <a:pos x="153" y="137"/>
                  </a:cxn>
                  <a:cxn ang="0">
                    <a:pos x="156" y="145"/>
                  </a:cxn>
                  <a:cxn ang="0">
                    <a:pos x="151" y="144"/>
                  </a:cxn>
                  <a:cxn ang="0">
                    <a:pos x="144" y="142"/>
                  </a:cxn>
                  <a:cxn ang="0">
                    <a:pos x="133" y="139"/>
                  </a:cxn>
                  <a:cxn ang="0">
                    <a:pos x="118" y="137"/>
                  </a:cxn>
                  <a:cxn ang="0">
                    <a:pos x="105" y="137"/>
                  </a:cxn>
                  <a:cxn ang="0">
                    <a:pos x="92" y="137"/>
                  </a:cxn>
                  <a:cxn ang="0">
                    <a:pos x="83" y="137"/>
                  </a:cxn>
                  <a:cxn ang="0">
                    <a:pos x="75" y="138"/>
                  </a:cxn>
                  <a:cxn ang="0">
                    <a:pos x="72" y="139"/>
                  </a:cxn>
                  <a:cxn ang="0">
                    <a:pos x="66" y="140"/>
                  </a:cxn>
                  <a:cxn ang="0">
                    <a:pos x="54" y="142"/>
                  </a:cxn>
                  <a:cxn ang="0">
                    <a:pos x="50" y="144"/>
                  </a:cxn>
                  <a:cxn ang="0">
                    <a:pos x="44" y="143"/>
                  </a:cxn>
                  <a:cxn ang="0">
                    <a:pos x="39" y="128"/>
                  </a:cxn>
                  <a:cxn ang="0">
                    <a:pos x="30" y="106"/>
                  </a:cxn>
                  <a:cxn ang="0">
                    <a:pos x="11" y="91"/>
                  </a:cxn>
                  <a:cxn ang="0">
                    <a:pos x="0" y="69"/>
                  </a:cxn>
                  <a:cxn ang="0">
                    <a:pos x="2" y="48"/>
                  </a:cxn>
                  <a:cxn ang="0">
                    <a:pos x="14" y="34"/>
                  </a:cxn>
                  <a:cxn ang="0">
                    <a:pos x="67" y="24"/>
                  </a:cxn>
                  <a:cxn ang="0">
                    <a:pos x="74" y="15"/>
                  </a:cxn>
                  <a:cxn ang="0">
                    <a:pos x="76" y="7"/>
                  </a:cxn>
                  <a:cxn ang="0">
                    <a:pos x="87" y="0"/>
                  </a:cxn>
                  <a:cxn ang="0">
                    <a:pos x="109" y="3"/>
                  </a:cxn>
                  <a:cxn ang="0">
                    <a:pos x="121" y="4"/>
                  </a:cxn>
                  <a:cxn ang="0">
                    <a:pos x="125" y="3"/>
                  </a:cxn>
                </a:cxnLst>
                <a:rect l="0" t="0" r="r" b="b"/>
                <a:pathLst>
                  <a:path w="192" h="145">
                    <a:moveTo>
                      <a:pt x="127" y="2"/>
                    </a:moveTo>
                    <a:lnTo>
                      <a:pt x="127" y="2"/>
                    </a:lnTo>
                    <a:lnTo>
                      <a:pt x="127" y="2"/>
                    </a:lnTo>
                    <a:lnTo>
                      <a:pt x="128" y="2"/>
                    </a:lnTo>
                    <a:lnTo>
                      <a:pt x="128" y="2"/>
                    </a:lnTo>
                    <a:lnTo>
                      <a:pt x="129" y="2"/>
                    </a:lnTo>
                    <a:lnTo>
                      <a:pt x="130" y="2"/>
                    </a:lnTo>
                    <a:lnTo>
                      <a:pt x="134" y="4"/>
                    </a:lnTo>
                    <a:lnTo>
                      <a:pt x="136" y="4"/>
                    </a:lnTo>
                    <a:lnTo>
                      <a:pt x="138" y="5"/>
                    </a:lnTo>
                    <a:lnTo>
                      <a:pt x="140" y="6"/>
                    </a:lnTo>
                    <a:lnTo>
                      <a:pt x="142" y="6"/>
                    </a:lnTo>
                    <a:lnTo>
                      <a:pt x="144" y="7"/>
                    </a:lnTo>
                    <a:lnTo>
                      <a:pt x="146" y="7"/>
                    </a:lnTo>
                    <a:lnTo>
                      <a:pt x="149" y="8"/>
                    </a:lnTo>
                    <a:lnTo>
                      <a:pt x="151" y="8"/>
                    </a:lnTo>
                    <a:lnTo>
                      <a:pt x="153" y="8"/>
                    </a:lnTo>
                    <a:lnTo>
                      <a:pt x="155" y="8"/>
                    </a:lnTo>
                    <a:lnTo>
                      <a:pt x="156" y="8"/>
                    </a:lnTo>
                    <a:lnTo>
                      <a:pt x="157" y="7"/>
                    </a:lnTo>
                    <a:lnTo>
                      <a:pt x="158" y="7"/>
                    </a:lnTo>
                    <a:lnTo>
                      <a:pt x="159" y="7"/>
                    </a:lnTo>
                    <a:lnTo>
                      <a:pt x="160" y="7"/>
                    </a:lnTo>
                    <a:lnTo>
                      <a:pt x="161" y="6"/>
                    </a:lnTo>
                    <a:lnTo>
                      <a:pt x="162" y="6"/>
                    </a:lnTo>
                    <a:lnTo>
                      <a:pt x="163" y="6"/>
                    </a:lnTo>
                    <a:lnTo>
                      <a:pt x="164" y="7"/>
                    </a:lnTo>
                    <a:lnTo>
                      <a:pt x="165" y="9"/>
                    </a:lnTo>
                    <a:lnTo>
                      <a:pt x="165" y="10"/>
                    </a:lnTo>
                    <a:lnTo>
                      <a:pt x="166" y="12"/>
                    </a:lnTo>
                    <a:lnTo>
                      <a:pt x="167" y="14"/>
                    </a:lnTo>
                    <a:lnTo>
                      <a:pt x="168" y="15"/>
                    </a:lnTo>
                    <a:lnTo>
                      <a:pt x="170" y="18"/>
                    </a:lnTo>
                    <a:lnTo>
                      <a:pt x="172" y="21"/>
                    </a:lnTo>
                    <a:lnTo>
                      <a:pt x="174" y="24"/>
                    </a:lnTo>
                    <a:lnTo>
                      <a:pt x="176" y="26"/>
                    </a:lnTo>
                    <a:lnTo>
                      <a:pt x="178" y="29"/>
                    </a:lnTo>
                    <a:lnTo>
                      <a:pt x="178" y="29"/>
                    </a:lnTo>
                    <a:lnTo>
                      <a:pt x="178" y="30"/>
                    </a:lnTo>
                    <a:lnTo>
                      <a:pt x="178" y="30"/>
                    </a:lnTo>
                    <a:lnTo>
                      <a:pt x="178" y="30"/>
                    </a:lnTo>
                    <a:lnTo>
                      <a:pt x="179" y="30"/>
                    </a:lnTo>
                    <a:lnTo>
                      <a:pt x="179" y="30"/>
                    </a:lnTo>
                    <a:lnTo>
                      <a:pt x="179" y="30"/>
                    </a:lnTo>
                    <a:lnTo>
                      <a:pt x="180" y="31"/>
                    </a:lnTo>
                    <a:lnTo>
                      <a:pt x="180" y="31"/>
                    </a:lnTo>
                    <a:lnTo>
                      <a:pt x="180" y="32"/>
                    </a:lnTo>
                    <a:lnTo>
                      <a:pt x="181" y="32"/>
                    </a:lnTo>
                    <a:lnTo>
                      <a:pt x="181" y="33"/>
                    </a:lnTo>
                    <a:lnTo>
                      <a:pt x="182" y="33"/>
                    </a:lnTo>
                    <a:lnTo>
                      <a:pt x="183" y="34"/>
                    </a:lnTo>
                    <a:lnTo>
                      <a:pt x="184" y="34"/>
                    </a:lnTo>
                    <a:lnTo>
                      <a:pt x="185" y="34"/>
                    </a:lnTo>
                    <a:lnTo>
                      <a:pt x="185" y="34"/>
                    </a:lnTo>
                    <a:lnTo>
                      <a:pt x="185" y="34"/>
                    </a:lnTo>
                    <a:lnTo>
                      <a:pt x="185" y="35"/>
                    </a:lnTo>
                    <a:lnTo>
                      <a:pt x="185" y="35"/>
                    </a:lnTo>
                    <a:lnTo>
                      <a:pt x="185" y="35"/>
                    </a:lnTo>
                    <a:lnTo>
                      <a:pt x="186" y="35"/>
                    </a:lnTo>
                    <a:lnTo>
                      <a:pt x="186" y="35"/>
                    </a:lnTo>
                    <a:lnTo>
                      <a:pt x="186" y="35"/>
                    </a:lnTo>
                    <a:lnTo>
                      <a:pt x="187" y="35"/>
                    </a:lnTo>
                    <a:lnTo>
                      <a:pt x="187" y="37"/>
                    </a:lnTo>
                    <a:lnTo>
                      <a:pt x="187" y="39"/>
                    </a:lnTo>
                    <a:lnTo>
                      <a:pt x="187" y="41"/>
                    </a:lnTo>
                    <a:lnTo>
                      <a:pt x="187" y="42"/>
                    </a:lnTo>
                    <a:lnTo>
                      <a:pt x="186" y="42"/>
                    </a:lnTo>
                    <a:lnTo>
                      <a:pt x="186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6" y="43"/>
                    </a:lnTo>
                    <a:lnTo>
                      <a:pt x="186" y="44"/>
                    </a:lnTo>
                    <a:lnTo>
                      <a:pt x="186" y="44"/>
                    </a:lnTo>
                    <a:lnTo>
                      <a:pt x="187" y="44"/>
                    </a:lnTo>
                    <a:lnTo>
                      <a:pt x="188" y="44"/>
                    </a:lnTo>
                    <a:lnTo>
                      <a:pt x="189" y="44"/>
                    </a:lnTo>
                    <a:lnTo>
                      <a:pt x="190" y="44"/>
                    </a:lnTo>
                    <a:lnTo>
                      <a:pt x="190" y="44"/>
                    </a:lnTo>
                    <a:lnTo>
                      <a:pt x="191" y="44"/>
                    </a:lnTo>
                    <a:lnTo>
                      <a:pt x="191" y="44"/>
                    </a:lnTo>
                    <a:lnTo>
                      <a:pt x="192" y="44"/>
                    </a:lnTo>
                    <a:lnTo>
                      <a:pt x="192" y="45"/>
                    </a:lnTo>
                    <a:lnTo>
                      <a:pt x="192" y="45"/>
                    </a:lnTo>
                    <a:lnTo>
                      <a:pt x="192" y="45"/>
                    </a:lnTo>
                    <a:lnTo>
                      <a:pt x="192" y="46"/>
                    </a:lnTo>
                    <a:lnTo>
                      <a:pt x="192" y="46"/>
                    </a:lnTo>
                    <a:lnTo>
                      <a:pt x="192" y="46"/>
                    </a:lnTo>
                    <a:lnTo>
                      <a:pt x="192" y="47"/>
                    </a:lnTo>
                    <a:lnTo>
                      <a:pt x="191" y="47"/>
                    </a:lnTo>
                    <a:lnTo>
                      <a:pt x="191" y="48"/>
                    </a:lnTo>
                    <a:lnTo>
                      <a:pt x="191" y="49"/>
                    </a:lnTo>
                    <a:lnTo>
                      <a:pt x="191" y="49"/>
                    </a:lnTo>
                    <a:lnTo>
                      <a:pt x="191" y="50"/>
                    </a:lnTo>
                    <a:lnTo>
                      <a:pt x="191" y="50"/>
                    </a:lnTo>
                    <a:lnTo>
                      <a:pt x="190" y="50"/>
                    </a:lnTo>
                    <a:lnTo>
                      <a:pt x="190" y="50"/>
                    </a:lnTo>
                    <a:lnTo>
                      <a:pt x="190" y="50"/>
                    </a:lnTo>
                    <a:lnTo>
                      <a:pt x="190" y="50"/>
                    </a:lnTo>
                    <a:lnTo>
                      <a:pt x="190" y="50"/>
                    </a:lnTo>
                    <a:lnTo>
                      <a:pt x="190" y="49"/>
                    </a:lnTo>
                    <a:lnTo>
                      <a:pt x="189" y="49"/>
                    </a:lnTo>
                    <a:lnTo>
                      <a:pt x="189" y="49"/>
                    </a:lnTo>
                    <a:lnTo>
                      <a:pt x="189" y="49"/>
                    </a:lnTo>
                    <a:lnTo>
                      <a:pt x="188" y="49"/>
                    </a:lnTo>
                    <a:lnTo>
                      <a:pt x="188" y="49"/>
                    </a:lnTo>
                    <a:lnTo>
                      <a:pt x="188" y="49"/>
                    </a:lnTo>
                    <a:lnTo>
                      <a:pt x="188" y="49"/>
                    </a:lnTo>
                    <a:lnTo>
                      <a:pt x="187" y="49"/>
                    </a:lnTo>
                    <a:lnTo>
                      <a:pt x="187" y="49"/>
                    </a:lnTo>
                    <a:lnTo>
                      <a:pt x="187" y="49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5" y="48"/>
                    </a:lnTo>
                    <a:lnTo>
                      <a:pt x="185" y="48"/>
                    </a:lnTo>
                    <a:lnTo>
                      <a:pt x="185" y="48"/>
                    </a:lnTo>
                    <a:lnTo>
                      <a:pt x="185" y="48"/>
                    </a:lnTo>
                    <a:lnTo>
                      <a:pt x="185" y="49"/>
                    </a:lnTo>
                    <a:lnTo>
                      <a:pt x="184" y="49"/>
                    </a:lnTo>
                    <a:lnTo>
                      <a:pt x="184" y="49"/>
                    </a:lnTo>
                    <a:lnTo>
                      <a:pt x="184" y="49"/>
                    </a:lnTo>
                    <a:lnTo>
                      <a:pt x="183" y="49"/>
                    </a:lnTo>
                    <a:lnTo>
                      <a:pt x="183" y="50"/>
                    </a:lnTo>
                    <a:lnTo>
                      <a:pt x="182" y="50"/>
                    </a:lnTo>
                    <a:lnTo>
                      <a:pt x="181" y="50"/>
                    </a:lnTo>
                    <a:lnTo>
                      <a:pt x="181" y="51"/>
                    </a:lnTo>
                    <a:lnTo>
                      <a:pt x="181" y="51"/>
                    </a:lnTo>
                    <a:lnTo>
                      <a:pt x="180" y="51"/>
                    </a:lnTo>
                    <a:lnTo>
                      <a:pt x="180" y="50"/>
                    </a:lnTo>
                    <a:lnTo>
                      <a:pt x="179" y="50"/>
                    </a:lnTo>
                    <a:lnTo>
                      <a:pt x="179" y="50"/>
                    </a:lnTo>
                    <a:lnTo>
                      <a:pt x="179" y="50"/>
                    </a:lnTo>
                    <a:lnTo>
                      <a:pt x="178" y="50"/>
                    </a:lnTo>
                    <a:lnTo>
                      <a:pt x="178" y="50"/>
                    </a:lnTo>
                    <a:lnTo>
                      <a:pt x="178" y="50"/>
                    </a:lnTo>
                    <a:lnTo>
                      <a:pt x="177" y="50"/>
                    </a:lnTo>
                    <a:lnTo>
                      <a:pt x="177" y="50"/>
                    </a:lnTo>
                    <a:lnTo>
                      <a:pt x="176" y="50"/>
                    </a:lnTo>
                    <a:lnTo>
                      <a:pt x="176" y="49"/>
                    </a:lnTo>
                    <a:lnTo>
                      <a:pt x="176" y="49"/>
                    </a:lnTo>
                    <a:lnTo>
                      <a:pt x="175" y="48"/>
                    </a:lnTo>
                    <a:lnTo>
                      <a:pt x="175" y="48"/>
                    </a:lnTo>
                    <a:lnTo>
                      <a:pt x="175" y="47"/>
                    </a:lnTo>
                    <a:lnTo>
                      <a:pt x="174" y="47"/>
                    </a:lnTo>
                    <a:lnTo>
                      <a:pt x="174" y="47"/>
                    </a:lnTo>
                    <a:lnTo>
                      <a:pt x="174" y="47"/>
                    </a:lnTo>
                    <a:lnTo>
                      <a:pt x="173" y="47"/>
                    </a:lnTo>
                    <a:lnTo>
                      <a:pt x="172" y="47"/>
                    </a:lnTo>
                    <a:lnTo>
                      <a:pt x="172" y="47"/>
                    </a:lnTo>
                    <a:lnTo>
                      <a:pt x="171" y="47"/>
                    </a:lnTo>
                    <a:lnTo>
                      <a:pt x="171" y="47"/>
                    </a:lnTo>
                    <a:lnTo>
                      <a:pt x="170" y="47"/>
                    </a:lnTo>
                    <a:lnTo>
                      <a:pt x="170" y="47"/>
                    </a:lnTo>
                    <a:lnTo>
                      <a:pt x="170" y="48"/>
                    </a:lnTo>
                    <a:lnTo>
                      <a:pt x="170" y="48"/>
                    </a:lnTo>
                    <a:lnTo>
                      <a:pt x="170" y="48"/>
                    </a:lnTo>
                    <a:lnTo>
                      <a:pt x="170" y="49"/>
                    </a:lnTo>
                    <a:lnTo>
                      <a:pt x="169" y="49"/>
                    </a:lnTo>
                    <a:lnTo>
                      <a:pt x="168" y="49"/>
                    </a:lnTo>
                    <a:lnTo>
                      <a:pt x="167" y="49"/>
                    </a:lnTo>
                    <a:lnTo>
                      <a:pt x="166" y="49"/>
                    </a:lnTo>
                    <a:lnTo>
                      <a:pt x="166" y="49"/>
                    </a:lnTo>
                    <a:lnTo>
                      <a:pt x="165" y="49"/>
                    </a:lnTo>
                    <a:lnTo>
                      <a:pt x="165" y="49"/>
                    </a:lnTo>
                    <a:lnTo>
                      <a:pt x="165" y="49"/>
                    </a:lnTo>
                    <a:lnTo>
                      <a:pt x="165" y="49"/>
                    </a:lnTo>
                    <a:lnTo>
                      <a:pt x="165" y="49"/>
                    </a:lnTo>
                    <a:lnTo>
                      <a:pt x="165" y="50"/>
                    </a:lnTo>
                    <a:lnTo>
                      <a:pt x="165" y="50"/>
                    </a:lnTo>
                    <a:lnTo>
                      <a:pt x="164" y="51"/>
                    </a:lnTo>
                    <a:lnTo>
                      <a:pt x="163" y="51"/>
                    </a:lnTo>
                    <a:lnTo>
                      <a:pt x="163" y="51"/>
                    </a:lnTo>
                    <a:lnTo>
                      <a:pt x="162" y="51"/>
                    </a:lnTo>
                    <a:lnTo>
                      <a:pt x="161" y="51"/>
                    </a:lnTo>
                    <a:lnTo>
                      <a:pt x="161" y="52"/>
                    </a:lnTo>
                    <a:lnTo>
                      <a:pt x="160" y="52"/>
                    </a:lnTo>
                    <a:lnTo>
                      <a:pt x="159" y="52"/>
                    </a:lnTo>
                    <a:lnTo>
                      <a:pt x="159" y="52"/>
                    </a:lnTo>
                    <a:lnTo>
                      <a:pt x="159" y="52"/>
                    </a:lnTo>
                    <a:lnTo>
                      <a:pt x="158" y="52"/>
                    </a:lnTo>
                    <a:lnTo>
                      <a:pt x="158" y="53"/>
                    </a:lnTo>
                    <a:lnTo>
                      <a:pt x="158" y="53"/>
                    </a:lnTo>
                    <a:lnTo>
                      <a:pt x="158" y="53"/>
                    </a:lnTo>
                    <a:lnTo>
                      <a:pt x="158" y="54"/>
                    </a:lnTo>
                    <a:lnTo>
                      <a:pt x="158" y="54"/>
                    </a:lnTo>
                    <a:lnTo>
                      <a:pt x="157" y="54"/>
                    </a:lnTo>
                    <a:lnTo>
                      <a:pt x="157" y="54"/>
                    </a:lnTo>
                    <a:lnTo>
                      <a:pt x="157" y="54"/>
                    </a:lnTo>
                    <a:lnTo>
                      <a:pt x="157" y="54"/>
                    </a:lnTo>
                    <a:lnTo>
                      <a:pt x="156" y="54"/>
                    </a:lnTo>
                    <a:lnTo>
                      <a:pt x="155" y="54"/>
                    </a:lnTo>
                    <a:lnTo>
                      <a:pt x="155" y="54"/>
                    </a:lnTo>
                    <a:lnTo>
                      <a:pt x="155" y="54"/>
                    </a:lnTo>
                    <a:lnTo>
                      <a:pt x="155" y="54"/>
                    </a:lnTo>
                    <a:lnTo>
                      <a:pt x="155" y="55"/>
                    </a:lnTo>
                    <a:lnTo>
                      <a:pt x="155" y="55"/>
                    </a:lnTo>
                    <a:lnTo>
                      <a:pt x="155" y="56"/>
                    </a:lnTo>
                    <a:lnTo>
                      <a:pt x="154" y="56"/>
                    </a:lnTo>
                    <a:lnTo>
                      <a:pt x="154" y="56"/>
                    </a:lnTo>
                    <a:lnTo>
                      <a:pt x="153" y="56"/>
                    </a:lnTo>
                    <a:lnTo>
                      <a:pt x="153" y="56"/>
                    </a:lnTo>
                    <a:lnTo>
                      <a:pt x="153" y="55"/>
                    </a:lnTo>
                    <a:lnTo>
                      <a:pt x="152" y="55"/>
                    </a:lnTo>
                    <a:lnTo>
                      <a:pt x="152" y="55"/>
                    </a:lnTo>
                    <a:lnTo>
                      <a:pt x="152" y="56"/>
                    </a:lnTo>
                    <a:lnTo>
                      <a:pt x="152" y="56"/>
                    </a:lnTo>
                    <a:lnTo>
                      <a:pt x="151" y="56"/>
                    </a:lnTo>
                    <a:lnTo>
                      <a:pt x="151" y="57"/>
                    </a:lnTo>
                    <a:lnTo>
                      <a:pt x="151" y="57"/>
                    </a:lnTo>
                    <a:lnTo>
                      <a:pt x="151" y="57"/>
                    </a:lnTo>
                    <a:lnTo>
                      <a:pt x="151" y="57"/>
                    </a:lnTo>
                    <a:lnTo>
                      <a:pt x="150" y="57"/>
                    </a:lnTo>
                    <a:lnTo>
                      <a:pt x="150" y="57"/>
                    </a:lnTo>
                    <a:lnTo>
                      <a:pt x="149" y="57"/>
                    </a:lnTo>
                    <a:lnTo>
                      <a:pt x="149" y="57"/>
                    </a:lnTo>
                    <a:lnTo>
                      <a:pt x="149" y="57"/>
                    </a:lnTo>
                    <a:lnTo>
                      <a:pt x="149" y="57"/>
                    </a:lnTo>
                    <a:lnTo>
                      <a:pt x="148" y="58"/>
                    </a:lnTo>
                    <a:lnTo>
                      <a:pt x="148" y="58"/>
                    </a:lnTo>
                    <a:lnTo>
                      <a:pt x="148" y="58"/>
                    </a:lnTo>
                    <a:lnTo>
                      <a:pt x="148" y="59"/>
                    </a:lnTo>
                    <a:lnTo>
                      <a:pt x="148" y="59"/>
                    </a:lnTo>
                    <a:lnTo>
                      <a:pt x="147" y="60"/>
                    </a:lnTo>
                    <a:lnTo>
                      <a:pt x="145" y="60"/>
                    </a:lnTo>
                    <a:lnTo>
                      <a:pt x="144" y="61"/>
                    </a:lnTo>
                    <a:lnTo>
                      <a:pt x="142" y="61"/>
                    </a:lnTo>
                    <a:lnTo>
                      <a:pt x="142" y="62"/>
                    </a:lnTo>
                    <a:lnTo>
                      <a:pt x="141" y="62"/>
                    </a:lnTo>
                    <a:lnTo>
                      <a:pt x="140" y="63"/>
                    </a:lnTo>
                    <a:lnTo>
                      <a:pt x="140" y="63"/>
                    </a:lnTo>
                    <a:lnTo>
                      <a:pt x="139" y="64"/>
                    </a:lnTo>
                    <a:lnTo>
                      <a:pt x="139" y="64"/>
                    </a:lnTo>
                    <a:lnTo>
                      <a:pt x="139" y="65"/>
                    </a:lnTo>
                    <a:lnTo>
                      <a:pt x="138" y="65"/>
                    </a:lnTo>
                    <a:lnTo>
                      <a:pt x="138" y="65"/>
                    </a:lnTo>
                    <a:lnTo>
                      <a:pt x="137" y="65"/>
                    </a:lnTo>
                    <a:lnTo>
                      <a:pt x="137" y="65"/>
                    </a:lnTo>
                    <a:lnTo>
                      <a:pt x="137" y="66"/>
                    </a:lnTo>
                    <a:lnTo>
                      <a:pt x="137" y="66"/>
                    </a:lnTo>
                    <a:lnTo>
                      <a:pt x="137" y="66"/>
                    </a:lnTo>
                    <a:lnTo>
                      <a:pt x="137" y="67"/>
                    </a:lnTo>
                    <a:lnTo>
                      <a:pt x="137" y="67"/>
                    </a:lnTo>
                    <a:lnTo>
                      <a:pt x="137" y="68"/>
                    </a:lnTo>
                    <a:lnTo>
                      <a:pt x="137" y="70"/>
                    </a:lnTo>
                    <a:lnTo>
                      <a:pt x="137" y="71"/>
                    </a:lnTo>
                    <a:lnTo>
                      <a:pt x="137" y="72"/>
                    </a:lnTo>
                    <a:lnTo>
                      <a:pt x="137" y="72"/>
                    </a:lnTo>
                    <a:lnTo>
                      <a:pt x="137" y="73"/>
                    </a:lnTo>
                    <a:lnTo>
                      <a:pt x="137" y="73"/>
                    </a:lnTo>
                    <a:lnTo>
                      <a:pt x="137" y="73"/>
                    </a:lnTo>
                    <a:lnTo>
                      <a:pt x="138" y="74"/>
                    </a:lnTo>
                    <a:lnTo>
                      <a:pt x="138" y="74"/>
                    </a:lnTo>
                    <a:lnTo>
                      <a:pt x="138" y="74"/>
                    </a:lnTo>
                    <a:lnTo>
                      <a:pt x="139" y="74"/>
                    </a:lnTo>
                    <a:lnTo>
                      <a:pt x="140" y="74"/>
                    </a:lnTo>
                    <a:lnTo>
                      <a:pt x="141" y="74"/>
                    </a:lnTo>
                    <a:lnTo>
                      <a:pt x="142" y="74"/>
                    </a:lnTo>
                    <a:lnTo>
                      <a:pt x="143" y="74"/>
                    </a:lnTo>
                    <a:lnTo>
                      <a:pt x="144" y="74"/>
                    </a:lnTo>
                    <a:lnTo>
                      <a:pt x="145" y="74"/>
                    </a:lnTo>
                    <a:lnTo>
                      <a:pt x="146" y="74"/>
                    </a:lnTo>
                    <a:lnTo>
                      <a:pt x="147" y="74"/>
                    </a:lnTo>
                    <a:lnTo>
                      <a:pt x="147" y="74"/>
                    </a:lnTo>
                    <a:lnTo>
                      <a:pt x="148" y="74"/>
                    </a:lnTo>
                    <a:lnTo>
                      <a:pt x="148" y="74"/>
                    </a:lnTo>
                    <a:lnTo>
                      <a:pt x="148" y="75"/>
                    </a:lnTo>
                    <a:lnTo>
                      <a:pt x="148" y="75"/>
                    </a:lnTo>
                    <a:lnTo>
                      <a:pt x="149" y="75"/>
                    </a:lnTo>
                    <a:lnTo>
                      <a:pt x="149" y="76"/>
                    </a:lnTo>
                    <a:lnTo>
                      <a:pt x="148" y="76"/>
                    </a:lnTo>
                    <a:lnTo>
                      <a:pt x="148" y="77"/>
                    </a:lnTo>
                    <a:lnTo>
                      <a:pt x="148" y="77"/>
                    </a:lnTo>
                    <a:lnTo>
                      <a:pt x="147" y="77"/>
                    </a:lnTo>
                    <a:lnTo>
                      <a:pt x="147" y="77"/>
                    </a:lnTo>
                    <a:lnTo>
                      <a:pt x="147" y="77"/>
                    </a:lnTo>
                    <a:lnTo>
                      <a:pt x="147" y="78"/>
                    </a:lnTo>
                    <a:lnTo>
                      <a:pt x="146" y="78"/>
                    </a:lnTo>
                    <a:lnTo>
                      <a:pt x="146" y="78"/>
                    </a:lnTo>
                    <a:lnTo>
                      <a:pt x="146" y="79"/>
                    </a:lnTo>
                    <a:lnTo>
                      <a:pt x="146" y="80"/>
                    </a:lnTo>
                    <a:lnTo>
                      <a:pt x="146" y="82"/>
                    </a:lnTo>
                    <a:lnTo>
                      <a:pt x="146" y="84"/>
                    </a:lnTo>
                    <a:lnTo>
                      <a:pt x="146" y="86"/>
                    </a:lnTo>
                    <a:lnTo>
                      <a:pt x="146" y="86"/>
                    </a:lnTo>
                    <a:lnTo>
                      <a:pt x="146" y="86"/>
                    </a:lnTo>
                    <a:lnTo>
                      <a:pt x="146" y="87"/>
                    </a:lnTo>
                    <a:lnTo>
                      <a:pt x="147" y="87"/>
                    </a:lnTo>
                    <a:lnTo>
                      <a:pt x="147" y="87"/>
                    </a:lnTo>
                    <a:lnTo>
                      <a:pt x="147" y="87"/>
                    </a:lnTo>
                    <a:lnTo>
                      <a:pt x="148" y="87"/>
                    </a:lnTo>
                    <a:lnTo>
                      <a:pt x="148" y="87"/>
                    </a:lnTo>
                    <a:lnTo>
                      <a:pt x="148" y="89"/>
                    </a:lnTo>
                    <a:lnTo>
                      <a:pt x="149" y="90"/>
                    </a:lnTo>
                    <a:lnTo>
                      <a:pt x="149" y="91"/>
                    </a:lnTo>
                    <a:lnTo>
                      <a:pt x="149" y="92"/>
                    </a:lnTo>
                    <a:lnTo>
                      <a:pt x="150" y="93"/>
                    </a:lnTo>
                    <a:lnTo>
                      <a:pt x="150" y="94"/>
                    </a:lnTo>
                    <a:lnTo>
                      <a:pt x="151" y="95"/>
                    </a:lnTo>
                    <a:lnTo>
                      <a:pt x="152" y="96"/>
                    </a:lnTo>
                    <a:lnTo>
                      <a:pt x="153" y="98"/>
                    </a:lnTo>
                    <a:lnTo>
                      <a:pt x="154" y="100"/>
                    </a:lnTo>
                    <a:lnTo>
                      <a:pt x="155" y="101"/>
                    </a:lnTo>
                    <a:lnTo>
                      <a:pt x="155" y="102"/>
                    </a:lnTo>
                    <a:lnTo>
                      <a:pt x="156" y="103"/>
                    </a:lnTo>
                    <a:lnTo>
                      <a:pt x="157" y="104"/>
                    </a:lnTo>
                    <a:lnTo>
                      <a:pt x="156" y="104"/>
                    </a:lnTo>
                    <a:lnTo>
                      <a:pt x="156" y="104"/>
                    </a:lnTo>
                    <a:lnTo>
                      <a:pt x="156" y="105"/>
                    </a:lnTo>
                    <a:lnTo>
                      <a:pt x="157" y="105"/>
                    </a:lnTo>
                    <a:lnTo>
                      <a:pt x="157" y="105"/>
                    </a:lnTo>
                    <a:lnTo>
                      <a:pt x="157" y="105"/>
                    </a:lnTo>
                    <a:lnTo>
                      <a:pt x="158" y="105"/>
                    </a:lnTo>
                    <a:lnTo>
                      <a:pt x="158" y="105"/>
                    </a:lnTo>
                    <a:lnTo>
                      <a:pt x="158" y="106"/>
                    </a:lnTo>
                    <a:lnTo>
                      <a:pt x="158" y="106"/>
                    </a:lnTo>
                    <a:lnTo>
                      <a:pt x="159" y="107"/>
                    </a:lnTo>
                    <a:lnTo>
                      <a:pt x="159" y="107"/>
                    </a:lnTo>
                    <a:lnTo>
                      <a:pt x="159" y="108"/>
                    </a:lnTo>
                    <a:lnTo>
                      <a:pt x="160" y="108"/>
                    </a:lnTo>
                    <a:lnTo>
                      <a:pt x="160" y="109"/>
                    </a:lnTo>
                    <a:lnTo>
                      <a:pt x="160" y="109"/>
                    </a:lnTo>
                    <a:lnTo>
                      <a:pt x="160" y="110"/>
                    </a:lnTo>
                    <a:lnTo>
                      <a:pt x="160" y="110"/>
                    </a:lnTo>
                    <a:lnTo>
                      <a:pt x="160" y="110"/>
                    </a:lnTo>
                    <a:lnTo>
                      <a:pt x="160" y="110"/>
                    </a:lnTo>
                    <a:lnTo>
                      <a:pt x="161" y="110"/>
                    </a:lnTo>
                    <a:lnTo>
                      <a:pt x="161" y="110"/>
                    </a:lnTo>
                    <a:lnTo>
                      <a:pt x="162" y="111"/>
                    </a:lnTo>
                    <a:lnTo>
                      <a:pt x="162" y="111"/>
                    </a:lnTo>
                    <a:lnTo>
                      <a:pt x="162" y="112"/>
                    </a:lnTo>
                    <a:lnTo>
                      <a:pt x="162" y="114"/>
                    </a:lnTo>
                    <a:lnTo>
                      <a:pt x="162" y="115"/>
                    </a:lnTo>
                    <a:lnTo>
                      <a:pt x="162" y="116"/>
                    </a:lnTo>
                    <a:lnTo>
                      <a:pt x="162" y="117"/>
                    </a:lnTo>
                    <a:lnTo>
                      <a:pt x="161" y="117"/>
                    </a:lnTo>
                    <a:lnTo>
                      <a:pt x="161" y="118"/>
                    </a:lnTo>
                    <a:lnTo>
                      <a:pt x="162" y="118"/>
                    </a:lnTo>
                    <a:lnTo>
                      <a:pt x="162" y="118"/>
                    </a:lnTo>
                    <a:lnTo>
                      <a:pt x="162" y="118"/>
                    </a:lnTo>
                    <a:lnTo>
                      <a:pt x="162" y="119"/>
                    </a:lnTo>
                    <a:lnTo>
                      <a:pt x="163" y="119"/>
                    </a:lnTo>
                    <a:lnTo>
                      <a:pt x="163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20"/>
                    </a:lnTo>
                    <a:lnTo>
                      <a:pt x="164" y="120"/>
                    </a:lnTo>
                    <a:lnTo>
                      <a:pt x="163" y="120"/>
                    </a:lnTo>
                    <a:lnTo>
                      <a:pt x="163" y="120"/>
                    </a:lnTo>
                    <a:lnTo>
                      <a:pt x="162" y="120"/>
                    </a:lnTo>
                    <a:lnTo>
                      <a:pt x="161" y="121"/>
                    </a:lnTo>
                    <a:lnTo>
                      <a:pt x="161" y="121"/>
                    </a:lnTo>
                    <a:lnTo>
                      <a:pt x="160" y="121"/>
                    </a:lnTo>
                    <a:lnTo>
                      <a:pt x="159" y="122"/>
                    </a:lnTo>
                    <a:lnTo>
                      <a:pt x="158" y="122"/>
                    </a:lnTo>
                    <a:lnTo>
                      <a:pt x="158" y="122"/>
                    </a:lnTo>
                    <a:lnTo>
                      <a:pt x="157" y="123"/>
                    </a:lnTo>
                    <a:lnTo>
                      <a:pt x="157" y="123"/>
                    </a:lnTo>
                    <a:lnTo>
                      <a:pt x="157" y="123"/>
                    </a:lnTo>
                    <a:lnTo>
                      <a:pt x="157" y="123"/>
                    </a:lnTo>
                    <a:lnTo>
                      <a:pt x="157" y="124"/>
                    </a:lnTo>
                    <a:lnTo>
                      <a:pt x="156" y="124"/>
                    </a:lnTo>
                    <a:lnTo>
                      <a:pt x="156" y="125"/>
                    </a:lnTo>
                    <a:lnTo>
                      <a:pt x="157" y="126"/>
                    </a:lnTo>
                    <a:lnTo>
                      <a:pt x="157" y="126"/>
                    </a:lnTo>
                    <a:lnTo>
                      <a:pt x="157" y="127"/>
                    </a:lnTo>
                    <a:lnTo>
                      <a:pt x="157" y="127"/>
                    </a:lnTo>
                    <a:lnTo>
                      <a:pt x="158" y="128"/>
                    </a:lnTo>
                    <a:lnTo>
                      <a:pt x="158" y="128"/>
                    </a:lnTo>
                    <a:lnTo>
                      <a:pt x="158" y="129"/>
                    </a:lnTo>
                    <a:lnTo>
                      <a:pt x="158" y="129"/>
                    </a:lnTo>
                    <a:lnTo>
                      <a:pt x="158" y="130"/>
                    </a:lnTo>
                    <a:lnTo>
                      <a:pt x="158" y="130"/>
                    </a:lnTo>
                    <a:lnTo>
                      <a:pt x="158" y="130"/>
                    </a:lnTo>
                    <a:lnTo>
                      <a:pt x="158" y="130"/>
                    </a:lnTo>
                    <a:lnTo>
                      <a:pt x="157" y="130"/>
                    </a:lnTo>
                    <a:lnTo>
                      <a:pt x="157" y="130"/>
                    </a:lnTo>
                    <a:lnTo>
                      <a:pt x="157" y="130"/>
                    </a:lnTo>
                    <a:lnTo>
                      <a:pt x="156" y="130"/>
                    </a:lnTo>
                    <a:lnTo>
                      <a:pt x="156" y="130"/>
                    </a:lnTo>
                    <a:lnTo>
                      <a:pt x="155" y="130"/>
                    </a:lnTo>
                    <a:lnTo>
                      <a:pt x="155" y="130"/>
                    </a:lnTo>
                    <a:lnTo>
                      <a:pt x="154" y="130"/>
                    </a:lnTo>
                    <a:lnTo>
                      <a:pt x="154" y="130"/>
                    </a:lnTo>
                    <a:lnTo>
                      <a:pt x="154" y="130"/>
                    </a:lnTo>
                    <a:lnTo>
                      <a:pt x="153" y="130"/>
                    </a:lnTo>
                    <a:lnTo>
                      <a:pt x="153" y="131"/>
                    </a:lnTo>
                    <a:lnTo>
                      <a:pt x="153" y="131"/>
                    </a:lnTo>
                    <a:lnTo>
                      <a:pt x="153" y="131"/>
                    </a:lnTo>
                    <a:lnTo>
                      <a:pt x="153" y="132"/>
                    </a:lnTo>
                    <a:lnTo>
                      <a:pt x="153" y="133"/>
                    </a:lnTo>
                    <a:lnTo>
                      <a:pt x="153" y="135"/>
                    </a:lnTo>
                    <a:lnTo>
                      <a:pt x="153" y="136"/>
                    </a:lnTo>
                    <a:lnTo>
                      <a:pt x="153" y="137"/>
                    </a:lnTo>
                    <a:lnTo>
                      <a:pt x="153" y="137"/>
                    </a:lnTo>
                    <a:lnTo>
                      <a:pt x="153" y="138"/>
                    </a:lnTo>
                    <a:lnTo>
                      <a:pt x="154" y="139"/>
                    </a:lnTo>
                    <a:lnTo>
                      <a:pt x="154" y="140"/>
                    </a:lnTo>
                    <a:lnTo>
                      <a:pt x="155" y="141"/>
                    </a:lnTo>
                    <a:lnTo>
                      <a:pt x="155" y="142"/>
                    </a:lnTo>
                    <a:lnTo>
                      <a:pt x="156" y="143"/>
                    </a:lnTo>
                    <a:lnTo>
                      <a:pt x="156" y="144"/>
                    </a:lnTo>
                    <a:lnTo>
                      <a:pt x="156" y="145"/>
                    </a:lnTo>
                    <a:lnTo>
                      <a:pt x="157" y="145"/>
                    </a:lnTo>
                    <a:lnTo>
                      <a:pt x="156" y="145"/>
                    </a:lnTo>
                    <a:lnTo>
                      <a:pt x="156" y="145"/>
                    </a:lnTo>
                    <a:lnTo>
                      <a:pt x="156" y="145"/>
                    </a:lnTo>
                    <a:lnTo>
                      <a:pt x="155" y="145"/>
                    </a:lnTo>
                    <a:lnTo>
                      <a:pt x="155" y="145"/>
                    </a:lnTo>
                    <a:lnTo>
                      <a:pt x="154" y="145"/>
                    </a:lnTo>
                    <a:lnTo>
                      <a:pt x="153" y="145"/>
                    </a:lnTo>
                    <a:lnTo>
                      <a:pt x="152" y="145"/>
                    </a:lnTo>
                    <a:lnTo>
                      <a:pt x="151" y="145"/>
                    </a:lnTo>
                    <a:lnTo>
                      <a:pt x="152" y="145"/>
                    </a:lnTo>
                    <a:lnTo>
                      <a:pt x="152" y="145"/>
                    </a:lnTo>
                    <a:lnTo>
                      <a:pt x="152" y="144"/>
                    </a:lnTo>
                    <a:lnTo>
                      <a:pt x="151" y="144"/>
                    </a:lnTo>
                    <a:lnTo>
                      <a:pt x="151" y="144"/>
                    </a:lnTo>
                    <a:lnTo>
                      <a:pt x="151" y="144"/>
                    </a:lnTo>
                    <a:lnTo>
                      <a:pt x="151" y="144"/>
                    </a:lnTo>
                    <a:lnTo>
                      <a:pt x="150" y="144"/>
                    </a:lnTo>
                    <a:lnTo>
                      <a:pt x="149" y="143"/>
                    </a:lnTo>
                    <a:lnTo>
                      <a:pt x="148" y="143"/>
                    </a:lnTo>
                    <a:lnTo>
                      <a:pt x="148" y="143"/>
                    </a:lnTo>
                    <a:lnTo>
                      <a:pt x="147" y="142"/>
                    </a:lnTo>
                    <a:lnTo>
                      <a:pt x="146" y="142"/>
                    </a:lnTo>
                    <a:lnTo>
                      <a:pt x="146" y="142"/>
                    </a:lnTo>
                    <a:lnTo>
                      <a:pt x="145" y="142"/>
                    </a:lnTo>
                    <a:lnTo>
                      <a:pt x="145" y="142"/>
                    </a:lnTo>
                    <a:lnTo>
                      <a:pt x="144" y="142"/>
                    </a:lnTo>
                    <a:lnTo>
                      <a:pt x="144" y="142"/>
                    </a:lnTo>
                    <a:lnTo>
                      <a:pt x="143" y="142"/>
                    </a:lnTo>
                    <a:lnTo>
                      <a:pt x="141" y="142"/>
                    </a:lnTo>
                    <a:lnTo>
                      <a:pt x="140" y="142"/>
                    </a:lnTo>
                    <a:lnTo>
                      <a:pt x="138" y="142"/>
                    </a:lnTo>
                    <a:lnTo>
                      <a:pt x="137" y="142"/>
                    </a:lnTo>
                    <a:lnTo>
                      <a:pt x="136" y="142"/>
                    </a:lnTo>
                    <a:lnTo>
                      <a:pt x="135" y="141"/>
                    </a:lnTo>
                    <a:lnTo>
                      <a:pt x="135" y="141"/>
                    </a:lnTo>
                    <a:lnTo>
                      <a:pt x="134" y="141"/>
                    </a:lnTo>
                    <a:lnTo>
                      <a:pt x="134" y="140"/>
                    </a:lnTo>
                    <a:lnTo>
                      <a:pt x="134" y="140"/>
                    </a:lnTo>
                    <a:lnTo>
                      <a:pt x="133" y="139"/>
                    </a:lnTo>
                    <a:lnTo>
                      <a:pt x="133" y="139"/>
                    </a:lnTo>
                    <a:lnTo>
                      <a:pt x="133" y="138"/>
                    </a:lnTo>
                    <a:lnTo>
                      <a:pt x="133" y="138"/>
                    </a:lnTo>
                    <a:lnTo>
                      <a:pt x="133" y="137"/>
                    </a:lnTo>
                    <a:lnTo>
                      <a:pt x="133" y="137"/>
                    </a:lnTo>
                    <a:lnTo>
                      <a:pt x="133" y="137"/>
                    </a:lnTo>
                    <a:lnTo>
                      <a:pt x="132" y="137"/>
                    </a:lnTo>
                    <a:lnTo>
                      <a:pt x="132" y="137"/>
                    </a:lnTo>
                    <a:lnTo>
                      <a:pt x="128" y="137"/>
                    </a:lnTo>
                    <a:lnTo>
                      <a:pt x="125" y="137"/>
                    </a:lnTo>
                    <a:lnTo>
                      <a:pt x="121" y="137"/>
                    </a:lnTo>
                    <a:lnTo>
                      <a:pt x="118" y="137"/>
                    </a:lnTo>
                    <a:lnTo>
                      <a:pt x="118" y="136"/>
                    </a:lnTo>
                    <a:lnTo>
                      <a:pt x="118" y="136"/>
                    </a:lnTo>
                    <a:lnTo>
                      <a:pt x="118" y="136"/>
                    </a:lnTo>
                    <a:lnTo>
                      <a:pt x="118" y="136"/>
                    </a:lnTo>
                    <a:lnTo>
                      <a:pt x="118" y="135"/>
                    </a:lnTo>
                    <a:lnTo>
                      <a:pt x="117" y="135"/>
                    </a:lnTo>
                    <a:lnTo>
                      <a:pt x="117" y="135"/>
                    </a:lnTo>
                    <a:lnTo>
                      <a:pt x="114" y="136"/>
                    </a:lnTo>
                    <a:lnTo>
                      <a:pt x="112" y="136"/>
                    </a:lnTo>
                    <a:lnTo>
                      <a:pt x="110" y="136"/>
                    </a:lnTo>
                    <a:lnTo>
                      <a:pt x="107" y="137"/>
                    </a:lnTo>
                    <a:lnTo>
                      <a:pt x="105" y="137"/>
                    </a:lnTo>
                    <a:lnTo>
                      <a:pt x="102" y="137"/>
                    </a:lnTo>
                    <a:lnTo>
                      <a:pt x="101" y="137"/>
                    </a:lnTo>
                    <a:lnTo>
                      <a:pt x="99" y="137"/>
                    </a:lnTo>
                    <a:lnTo>
                      <a:pt x="98" y="137"/>
                    </a:lnTo>
                    <a:lnTo>
                      <a:pt x="97" y="137"/>
                    </a:lnTo>
                    <a:lnTo>
                      <a:pt x="96" y="137"/>
                    </a:lnTo>
                    <a:lnTo>
                      <a:pt x="95" y="137"/>
                    </a:lnTo>
                    <a:lnTo>
                      <a:pt x="94" y="137"/>
                    </a:lnTo>
                    <a:lnTo>
                      <a:pt x="93" y="137"/>
                    </a:lnTo>
                    <a:lnTo>
                      <a:pt x="93" y="137"/>
                    </a:lnTo>
                    <a:lnTo>
                      <a:pt x="92" y="137"/>
                    </a:lnTo>
                    <a:lnTo>
                      <a:pt x="92" y="137"/>
                    </a:lnTo>
                    <a:lnTo>
                      <a:pt x="92" y="138"/>
                    </a:lnTo>
                    <a:lnTo>
                      <a:pt x="92" y="138"/>
                    </a:lnTo>
                    <a:lnTo>
                      <a:pt x="92" y="138"/>
                    </a:lnTo>
                    <a:lnTo>
                      <a:pt x="92" y="139"/>
                    </a:lnTo>
                    <a:lnTo>
                      <a:pt x="90" y="139"/>
                    </a:lnTo>
                    <a:lnTo>
                      <a:pt x="89" y="139"/>
                    </a:lnTo>
                    <a:lnTo>
                      <a:pt x="88" y="139"/>
                    </a:lnTo>
                    <a:lnTo>
                      <a:pt x="87" y="139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4" y="138"/>
                    </a:lnTo>
                    <a:lnTo>
                      <a:pt x="83" y="137"/>
                    </a:lnTo>
                    <a:lnTo>
                      <a:pt x="82" y="137"/>
                    </a:lnTo>
                    <a:lnTo>
                      <a:pt x="81" y="137"/>
                    </a:lnTo>
                    <a:lnTo>
                      <a:pt x="80" y="137"/>
                    </a:lnTo>
                    <a:lnTo>
                      <a:pt x="79" y="137"/>
                    </a:lnTo>
                    <a:lnTo>
                      <a:pt x="78" y="137"/>
                    </a:lnTo>
                    <a:lnTo>
                      <a:pt x="77" y="137"/>
                    </a:lnTo>
                    <a:lnTo>
                      <a:pt x="76" y="137"/>
                    </a:lnTo>
                    <a:lnTo>
                      <a:pt x="76" y="137"/>
                    </a:lnTo>
                    <a:lnTo>
                      <a:pt x="75" y="137"/>
                    </a:lnTo>
                    <a:lnTo>
                      <a:pt x="75" y="137"/>
                    </a:lnTo>
                    <a:lnTo>
                      <a:pt x="75" y="137"/>
                    </a:lnTo>
                    <a:lnTo>
                      <a:pt x="75" y="138"/>
                    </a:lnTo>
                    <a:lnTo>
                      <a:pt x="75" y="138"/>
                    </a:lnTo>
                    <a:lnTo>
                      <a:pt x="75" y="139"/>
                    </a:lnTo>
                    <a:lnTo>
                      <a:pt x="75" y="139"/>
                    </a:lnTo>
                    <a:lnTo>
                      <a:pt x="74" y="139"/>
                    </a:lnTo>
                    <a:lnTo>
                      <a:pt x="74" y="139"/>
                    </a:lnTo>
                    <a:lnTo>
                      <a:pt x="74" y="139"/>
                    </a:lnTo>
                    <a:lnTo>
                      <a:pt x="73" y="139"/>
                    </a:lnTo>
                    <a:lnTo>
                      <a:pt x="73" y="139"/>
                    </a:lnTo>
                    <a:lnTo>
                      <a:pt x="72" y="139"/>
                    </a:lnTo>
                    <a:lnTo>
                      <a:pt x="72" y="139"/>
                    </a:lnTo>
                    <a:lnTo>
                      <a:pt x="72" y="139"/>
                    </a:lnTo>
                    <a:lnTo>
                      <a:pt x="72" y="139"/>
                    </a:lnTo>
                    <a:lnTo>
                      <a:pt x="72" y="140"/>
                    </a:lnTo>
                    <a:lnTo>
                      <a:pt x="72" y="140"/>
                    </a:lnTo>
                    <a:lnTo>
                      <a:pt x="72" y="140"/>
                    </a:lnTo>
                    <a:lnTo>
                      <a:pt x="71" y="140"/>
                    </a:lnTo>
                    <a:lnTo>
                      <a:pt x="71" y="140"/>
                    </a:lnTo>
                    <a:lnTo>
                      <a:pt x="71" y="140"/>
                    </a:lnTo>
                    <a:lnTo>
                      <a:pt x="70" y="140"/>
                    </a:lnTo>
                    <a:lnTo>
                      <a:pt x="70" y="140"/>
                    </a:lnTo>
                    <a:lnTo>
                      <a:pt x="69" y="140"/>
                    </a:lnTo>
                    <a:lnTo>
                      <a:pt x="68" y="140"/>
                    </a:lnTo>
                    <a:lnTo>
                      <a:pt x="67" y="140"/>
                    </a:lnTo>
                    <a:lnTo>
                      <a:pt x="66" y="140"/>
                    </a:lnTo>
                    <a:lnTo>
                      <a:pt x="64" y="140"/>
                    </a:lnTo>
                    <a:lnTo>
                      <a:pt x="61" y="140"/>
                    </a:lnTo>
                    <a:lnTo>
                      <a:pt x="60" y="140"/>
                    </a:lnTo>
                    <a:lnTo>
                      <a:pt x="59" y="140"/>
                    </a:lnTo>
                    <a:lnTo>
                      <a:pt x="58" y="140"/>
                    </a:lnTo>
                    <a:lnTo>
                      <a:pt x="57" y="140"/>
                    </a:lnTo>
                    <a:lnTo>
                      <a:pt x="57" y="140"/>
                    </a:lnTo>
                    <a:lnTo>
                      <a:pt x="56" y="141"/>
                    </a:lnTo>
                    <a:lnTo>
                      <a:pt x="55" y="141"/>
                    </a:lnTo>
                    <a:lnTo>
                      <a:pt x="55" y="142"/>
                    </a:lnTo>
                    <a:lnTo>
                      <a:pt x="55" y="142"/>
                    </a:lnTo>
                    <a:lnTo>
                      <a:pt x="54" y="142"/>
                    </a:lnTo>
                    <a:lnTo>
                      <a:pt x="54" y="142"/>
                    </a:lnTo>
                    <a:lnTo>
                      <a:pt x="53" y="142"/>
                    </a:lnTo>
                    <a:lnTo>
                      <a:pt x="53" y="142"/>
                    </a:lnTo>
                    <a:lnTo>
                      <a:pt x="52" y="142"/>
                    </a:lnTo>
                    <a:lnTo>
                      <a:pt x="52" y="143"/>
                    </a:lnTo>
                    <a:lnTo>
                      <a:pt x="52" y="143"/>
                    </a:lnTo>
                    <a:lnTo>
                      <a:pt x="52" y="143"/>
                    </a:lnTo>
                    <a:lnTo>
                      <a:pt x="52" y="144"/>
                    </a:lnTo>
                    <a:lnTo>
                      <a:pt x="51" y="144"/>
                    </a:lnTo>
                    <a:lnTo>
                      <a:pt x="51" y="143"/>
                    </a:lnTo>
                    <a:lnTo>
                      <a:pt x="50" y="144"/>
                    </a:lnTo>
                    <a:lnTo>
                      <a:pt x="50" y="144"/>
                    </a:lnTo>
                    <a:lnTo>
                      <a:pt x="50" y="144"/>
                    </a:lnTo>
                    <a:lnTo>
                      <a:pt x="50" y="145"/>
                    </a:lnTo>
                    <a:lnTo>
                      <a:pt x="50" y="145"/>
                    </a:lnTo>
                    <a:lnTo>
                      <a:pt x="50" y="145"/>
                    </a:lnTo>
                    <a:lnTo>
                      <a:pt x="49" y="145"/>
                    </a:lnTo>
                    <a:lnTo>
                      <a:pt x="48" y="145"/>
                    </a:lnTo>
                    <a:lnTo>
                      <a:pt x="46" y="145"/>
                    </a:lnTo>
                    <a:lnTo>
                      <a:pt x="45" y="145"/>
                    </a:lnTo>
                    <a:lnTo>
                      <a:pt x="45" y="145"/>
                    </a:lnTo>
                    <a:lnTo>
                      <a:pt x="44" y="144"/>
                    </a:lnTo>
                    <a:lnTo>
                      <a:pt x="44" y="144"/>
                    </a:lnTo>
                    <a:lnTo>
                      <a:pt x="44" y="143"/>
                    </a:lnTo>
                    <a:lnTo>
                      <a:pt x="43" y="143"/>
                    </a:lnTo>
                    <a:lnTo>
                      <a:pt x="43" y="142"/>
                    </a:lnTo>
                    <a:lnTo>
                      <a:pt x="43" y="140"/>
                    </a:lnTo>
                    <a:lnTo>
                      <a:pt x="43" y="139"/>
                    </a:lnTo>
                    <a:lnTo>
                      <a:pt x="43" y="137"/>
                    </a:lnTo>
                    <a:lnTo>
                      <a:pt x="43" y="135"/>
                    </a:lnTo>
                    <a:lnTo>
                      <a:pt x="43" y="134"/>
                    </a:lnTo>
                    <a:lnTo>
                      <a:pt x="42" y="133"/>
                    </a:lnTo>
                    <a:lnTo>
                      <a:pt x="41" y="131"/>
                    </a:lnTo>
                    <a:lnTo>
                      <a:pt x="40" y="130"/>
                    </a:lnTo>
                    <a:lnTo>
                      <a:pt x="40" y="129"/>
                    </a:lnTo>
                    <a:lnTo>
                      <a:pt x="39" y="128"/>
                    </a:lnTo>
                    <a:lnTo>
                      <a:pt x="38" y="126"/>
                    </a:lnTo>
                    <a:lnTo>
                      <a:pt x="38" y="125"/>
                    </a:lnTo>
                    <a:lnTo>
                      <a:pt x="37" y="123"/>
                    </a:lnTo>
                    <a:lnTo>
                      <a:pt x="36" y="120"/>
                    </a:lnTo>
                    <a:lnTo>
                      <a:pt x="35" y="117"/>
                    </a:lnTo>
                    <a:lnTo>
                      <a:pt x="34" y="114"/>
                    </a:lnTo>
                    <a:lnTo>
                      <a:pt x="33" y="111"/>
                    </a:lnTo>
                    <a:lnTo>
                      <a:pt x="33" y="110"/>
                    </a:lnTo>
                    <a:lnTo>
                      <a:pt x="32" y="109"/>
                    </a:lnTo>
                    <a:lnTo>
                      <a:pt x="32" y="108"/>
                    </a:lnTo>
                    <a:lnTo>
                      <a:pt x="31" y="107"/>
                    </a:lnTo>
                    <a:lnTo>
                      <a:pt x="30" y="106"/>
                    </a:lnTo>
                    <a:lnTo>
                      <a:pt x="30" y="106"/>
                    </a:lnTo>
                    <a:lnTo>
                      <a:pt x="29" y="105"/>
                    </a:lnTo>
                    <a:lnTo>
                      <a:pt x="28" y="105"/>
                    </a:lnTo>
                    <a:lnTo>
                      <a:pt x="27" y="104"/>
                    </a:lnTo>
                    <a:lnTo>
                      <a:pt x="26" y="104"/>
                    </a:lnTo>
                    <a:lnTo>
                      <a:pt x="24" y="103"/>
                    </a:lnTo>
                    <a:lnTo>
                      <a:pt x="22" y="103"/>
                    </a:lnTo>
                    <a:lnTo>
                      <a:pt x="20" y="102"/>
                    </a:lnTo>
                    <a:lnTo>
                      <a:pt x="18" y="100"/>
                    </a:lnTo>
                    <a:lnTo>
                      <a:pt x="16" y="98"/>
                    </a:lnTo>
                    <a:lnTo>
                      <a:pt x="13" y="93"/>
                    </a:lnTo>
                    <a:lnTo>
                      <a:pt x="11" y="91"/>
                    </a:lnTo>
                    <a:lnTo>
                      <a:pt x="9" y="89"/>
                    </a:lnTo>
                    <a:lnTo>
                      <a:pt x="7" y="86"/>
                    </a:lnTo>
                    <a:lnTo>
                      <a:pt x="6" y="84"/>
                    </a:lnTo>
                    <a:lnTo>
                      <a:pt x="4" y="81"/>
                    </a:lnTo>
                    <a:lnTo>
                      <a:pt x="4" y="80"/>
                    </a:lnTo>
                    <a:lnTo>
                      <a:pt x="3" y="78"/>
                    </a:lnTo>
                    <a:lnTo>
                      <a:pt x="3" y="77"/>
                    </a:lnTo>
                    <a:lnTo>
                      <a:pt x="2" y="76"/>
                    </a:lnTo>
                    <a:lnTo>
                      <a:pt x="1" y="74"/>
                    </a:lnTo>
                    <a:lnTo>
                      <a:pt x="1" y="72"/>
                    </a:lnTo>
                    <a:lnTo>
                      <a:pt x="1" y="71"/>
                    </a:lnTo>
                    <a:lnTo>
                      <a:pt x="0" y="69"/>
                    </a:lnTo>
                    <a:lnTo>
                      <a:pt x="0" y="67"/>
                    </a:lnTo>
                    <a:lnTo>
                      <a:pt x="0" y="65"/>
                    </a:lnTo>
                    <a:lnTo>
                      <a:pt x="0" y="63"/>
                    </a:lnTo>
                    <a:lnTo>
                      <a:pt x="0" y="61"/>
                    </a:lnTo>
                    <a:lnTo>
                      <a:pt x="0" y="59"/>
                    </a:lnTo>
                    <a:lnTo>
                      <a:pt x="0" y="57"/>
                    </a:lnTo>
                    <a:lnTo>
                      <a:pt x="0" y="55"/>
                    </a:lnTo>
                    <a:lnTo>
                      <a:pt x="0" y="54"/>
                    </a:lnTo>
                    <a:lnTo>
                      <a:pt x="1" y="52"/>
                    </a:lnTo>
                    <a:lnTo>
                      <a:pt x="1" y="51"/>
                    </a:lnTo>
                    <a:lnTo>
                      <a:pt x="1" y="49"/>
                    </a:lnTo>
                    <a:lnTo>
                      <a:pt x="2" y="48"/>
                    </a:lnTo>
                    <a:lnTo>
                      <a:pt x="3" y="47"/>
                    </a:lnTo>
                    <a:lnTo>
                      <a:pt x="3" y="45"/>
                    </a:lnTo>
                    <a:lnTo>
                      <a:pt x="4" y="44"/>
                    </a:lnTo>
                    <a:lnTo>
                      <a:pt x="5" y="43"/>
                    </a:lnTo>
                    <a:lnTo>
                      <a:pt x="6" y="42"/>
                    </a:lnTo>
                    <a:lnTo>
                      <a:pt x="7" y="40"/>
                    </a:lnTo>
                    <a:lnTo>
                      <a:pt x="8" y="39"/>
                    </a:lnTo>
                    <a:lnTo>
                      <a:pt x="9" y="38"/>
                    </a:lnTo>
                    <a:lnTo>
                      <a:pt x="10" y="37"/>
                    </a:lnTo>
                    <a:lnTo>
                      <a:pt x="11" y="36"/>
                    </a:lnTo>
                    <a:lnTo>
                      <a:pt x="12" y="35"/>
                    </a:lnTo>
                    <a:lnTo>
                      <a:pt x="14" y="34"/>
                    </a:lnTo>
                    <a:lnTo>
                      <a:pt x="15" y="33"/>
                    </a:lnTo>
                    <a:lnTo>
                      <a:pt x="16" y="32"/>
                    </a:lnTo>
                    <a:lnTo>
                      <a:pt x="19" y="30"/>
                    </a:lnTo>
                    <a:lnTo>
                      <a:pt x="22" y="29"/>
                    </a:lnTo>
                    <a:lnTo>
                      <a:pt x="25" y="27"/>
                    </a:lnTo>
                    <a:lnTo>
                      <a:pt x="28" y="26"/>
                    </a:lnTo>
                    <a:lnTo>
                      <a:pt x="32" y="25"/>
                    </a:lnTo>
                    <a:lnTo>
                      <a:pt x="35" y="24"/>
                    </a:lnTo>
                    <a:lnTo>
                      <a:pt x="44" y="24"/>
                    </a:lnTo>
                    <a:lnTo>
                      <a:pt x="53" y="24"/>
                    </a:lnTo>
                    <a:lnTo>
                      <a:pt x="62" y="24"/>
                    </a:lnTo>
                    <a:lnTo>
                      <a:pt x="67" y="24"/>
                    </a:lnTo>
                    <a:lnTo>
                      <a:pt x="72" y="24"/>
                    </a:lnTo>
                    <a:lnTo>
                      <a:pt x="72" y="23"/>
                    </a:lnTo>
                    <a:lnTo>
                      <a:pt x="71" y="22"/>
                    </a:lnTo>
                    <a:lnTo>
                      <a:pt x="71" y="21"/>
                    </a:lnTo>
                    <a:lnTo>
                      <a:pt x="71" y="21"/>
                    </a:lnTo>
                    <a:lnTo>
                      <a:pt x="72" y="20"/>
                    </a:lnTo>
                    <a:lnTo>
                      <a:pt x="72" y="19"/>
                    </a:lnTo>
                    <a:lnTo>
                      <a:pt x="72" y="19"/>
                    </a:lnTo>
                    <a:lnTo>
                      <a:pt x="72" y="18"/>
                    </a:lnTo>
                    <a:lnTo>
                      <a:pt x="73" y="17"/>
                    </a:lnTo>
                    <a:lnTo>
                      <a:pt x="73" y="16"/>
                    </a:lnTo>
                    <a:lnTo>
                      <a:pt x="74" y="15"/>
                    </a:lnTo>
                    <a:lnTo>
                      <a:pt x="75" y="14"/>
                    </a:lnTo>
                    <a:lnTo>
                      <a:pt x="75" y="13"/>
                    </a:lnTo>
                    <a:lnTo>
                      <a:pt x="76" y="12"/>
                    </a:lnTo>
                    <a:lnTo>
                      <a:pt x="76" y="11"/>
                    </a:lnTo>
                    <a:lnTo>
                      <a:pt x="76" y="11"/>
                    </a:lnTo>
                    <a:lnTo>
                      <a:pt x="76" y="10"/>
                    </a:lnTo>
                    <a:lnTo>
                      <a:pt x="76" y="10"/>
                    </a:lnTo>
                    <a:lnTo>
                      <a:pt x="76" y="9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7"/>
                    </a:lnTo>
                    <a:lnTo>
                      <a:pt x="76" y="7"/>
                    </a:lnTo>
                    <a:lnTo>
                      <a:pt x="75" y="6"/>
                    </a:lnTo>
                    <a:lnTo>
                      <a:pt x="75" y="6"/>
                    </a:lnTo>
                    <a:lnTo>
                      <a:pt x="76" y="5"/>
                    </a:lnTo>
                    <a:lnTo>
                      <a:pt x="77" y="4"/>
                    </a:lnTo>
                    <a:lnTo>
                      <a:pt x="78" y="3"/>
                    </a:lnTo>
                    <a:lnTo>
                      <a:pt x="79" y="2"/>
                    </a:lnTo>
                    <a:lnTo>
                      <a:pt x="81" y="2"/>
                    </a:lnTo>
                    <a:lnTo>
                      <a:pt x="82" y="1"/>
                    </a:lnTo>
                    <a:lnTo>
                      <a:pt x="83" y="1"/>
                    </a:lnTo>
                    <a:lnTo>
                      <a:pt x="84" y="0"/>
                    </a:lnTo>
                    <a:lnTo>
                      <a:pt x="85" y="0"/>
                    </a:lnTo>
                    <a:lnTo>
                      <a:pt x="87" y="0"/>
                    </a:lnTo>
                    <a:lnTo>
                      <a:pt x="88" y="0"/>
                    </a:lnTo>
                    <a:lnTo>
                      <a:pt x="89" y="0"/>
                    </a:lnTo>
                    <a:lnTo>
                      <a:pt x="91" y="0"/>
                    </a:lnTo>
                    <a:lnTo>
                      <a:pt x="92" y="0"/>
                    </a:lnTo>
                    <a:lnTo>
                      <a:pt x="93" y="0"/>
                    </a:lnTo>
                    <a:lnTo>
                      <a:pt x="95" y="0"/>
                    </a:lnTo>
                    <a:lnTo>
                      <a:pt x="96" y="0"/>
                    </a:lnTo>
                    <a:lnTo>
                      <a:pt x="98" y="0"/>
                    </a:lnTo>
                    <a:lnTo>
                      <a:pt x="100" y="1"/>
                    </a:lnTo>
                    <a:lnTo>
                      <a:pt x="103" y="1"/>
                    </a:lnTo>
                    <a:lnTo>
                      <a:pt x="106" y="2"/>
                    </a:lnTo>
                    <a:lnTo>
                      <a:pt x="109" y="3"/>
                    </a:lnTo>
                    <a:lnTo>
                      <a:pt x="111" y="4"/>
                    </a:lnTo>
                    <a:lnTo>
                      <a:pt x="114" y="5"/>
                    </a:lnTo>
                    <a:lnTo>
                      <a:pt x="117" y="6"/>
                    </a:lnTo>
                    <a:lnTo>
                      <a:pt x="117" y="5"/>
                    </a:lnTo>
                    <a:lnTo>
                      <a:pt x="118" y="5"/>
                    </a:lnTo>
                    <a:lnTo>
                      <a:pt x="119" y="5"/>
                    </a:lnTo>
                    <a:lnTo>
                      <a:pt x="119" y="5"/>
                    </a:lnTo>
                    <a:lnTo>
                      <a:pt x="120" y="5"/>
                    </a:lnTo>
                    <a:lnTo>
                      <a:pt x="120" y="4"/>
                    </a:lnTo>
                    <a:lnTo>
                      <a:pt x="120" y="4"/>
                    </a:lnTo>
                    <a:lnTo>
                      <a:pt x="121" y="4"/>
                    </a:lnTo>
                    <a:lnTo>
                      <a:pt x="121" y="4"/>
                    </a:lnTo>
                    <a:lnTo>
                      <a:pt x="121" y="4"/>
                    </a:lnTo>
                    <a:lnTo>
                      <a:pt x="122" y="4"/>
                    </a:lnTo>
                    <a:lnTo>
                      <a:pt x="122" y="4"/>
                    </a:lnTo>
                    <a:lnTo>
                      <a:pt x="122" y="4"/>
                    </a:lnTo>
                    <a:lnTo>
                      <a:pt x="122" y="4"/>
                    </a:lnTo>
                    <a:lnTo>
                      <a:pt x="122" y="4"/>
                    </a:lnTo>
                    <a:lnTo>
                      <a:pt x="123" y="4"/>
                    </a:lnTo>
                    <a:lnTo>
                      <a:pt x="123" y="3"/>
                    </a:lnTo>
                    <a:lnTo>
                      <a:pt x="123" y="3"/>
                    </a:lnTo>
                    <a:lnTo>
                      <a:pt x="124" y="3"/>
                    </a:lnTo>
                    <a:lnTo>
                      <a:pt x="124" y="3"/>
                    </a:lnTo>
                    <a:lnTo>
                      <a:pt x="125" y="3"/>
                    </a:lnTo>
                    <a:lnTo>
                      <a:pt x="125" y="3"/>
                    </a:lnTo>
                    <a:lnTo>
                      <a:pt x="125" y="3"/>
                    </a:lnTo>
                    <a:lnTo>
                      <a:pt x="126" y="2"/>
                    </a:lnTo>
                    <a:lnTo>
                      <a:pt x="127" y="2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defTabSz="914308">
                  <a:defRPr/>
                </a:pPr>
                <a:endParaRPr lang="en-US" sz="9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07" name="Freeform 11"/>
              <p:cNvSpPr>
                <a:spLocks/>
              </p:cNvSpPr>
              <p:nvPr/>
            </p:nvSpPr>
            <p:spPr bwMode="auto">
              <a:xfrm>
                <a:off x="1772860" y="3653644"/>
                <a:ext cx="1483074" cy="1339653"/>
              </a:xfrm>
              <a:custGeom>
                <a:avLst/>
                <a:gdLst/>
                <a:ahLst/>
                <a:cxnLst>
                  <a:cxn ang="0">
                    <a:pos x="107" y="35"/>
                  </a:cxn>
                  <a:cxn ang="0">
                    <a:pos x="125" y="42"/>
                  </a:cxn>
                  <a:cxn ang="0">
                    <a:pos x="152" y="58"/>
                  </a:cxn>
                  <a:cxn ang="0">
                    <a:pos x="180" y="59"/>
                  </a:cxn>
                  <a:cxn ang="0">
                    <a:pos x="185" y="69"/>
                  </a:cxn>
                  <a:cxn ang="0">
                    <a:pos x="183" y="80"/>
                  </a:cxn>
                  <a:cxn ang="0">
                    <a:pos x="189" y="87"/>
                  </a:cxn>
                  <a:cxn ang="0">
                    <a:pos x="190" y="110"/>
                  </a:cxn>
                  <a:cxn ang="0">
                    <a:pos x="198" y="117"/>
                  </a:cxn>
                  <a:cxn ang="0">
                    <a:pos x="197" y="131"/>
                  </a:cxn>
                  <a:cxn ang="0">
                    <a:pos x="193" y="139"/>
                  </a:cxn>
                  <a:cxn ang="0">
                    <a:pos x="195" y="145"/>
                  </a:cxn>
                  <a:cxn ang="0">
                    <a:pos x="165" y="163"/>
                  </a:cxn>
                  <a:cxn ang="0">
                    <a:pos x="160" y="156"/>
                  </a:cxn>
                  <a:cxn ang="0">
                    <a:pos x="161" y="151"/>
                  </a:cxn>
                  <a:cxn ang="0">
                    <a:pos x="159" y="149"/>
                  </a:cxn>
                  <a:cxn ang="0">
                    <a:pos x="157" y="150"/>
                  </a:cxn>
                  <a:cxn ang="0">
                    <a:pos x="151" y="151"/>
                  </a:cxn>
                  <a:cxn ang="0">
                    <a:pos x="151" y="147"/>
                  </a:cxn>
                  <a:cxn ang="0">
                    <a:pos x="147" y="140"/>
                  </a:cxn>
                  <a:cxn ang="0">
                    <a:pos x="144" y="137"/>
                  </a:cxn>
                  <a:cxn ang="0">
                    <a:pos x="139" y="134"/>
                  </a:cxn>
                  <a:cxn ang="0">
                    <a:pos x="135" y="129"/>
                  </a:cxn>
                  <a:cxn ang="0">
                    <a:pos x="132" y="125"/>
                  </a:cxn>
                  <a:cxn ang="0">
                    <a:pos x="129" y="127"/>
                  </a:cxn>
                  <a:cxn ang="0">
                    <a:pos x="125" y="129"/>
                  </a:cxn>
                  <a:cxn ang="0">
                    <a:pos x="118" y="132"/>
                  </a:cxn>
                  <a:cxn ang="0">
                    <a:pos x="113" y="130"/>
                  </a:cxn>
                  <a:cxn ang="0">
                    <a:pos x="99" y="128"/>
                  </a:cxn>
                  <a:cxn ang="0">
                    <a:pos x="93" y="127"/>
                  </a:cxn>
                  <a:cxn ang="0">
                    <a:pos x="88" y="128"/>
                  </a:cxn>
                  <a:cxn ang="0">
                    <a:pos x="78" y="129"/>
                  </a:cxn>
                  <a:cxn ang="0">
                    <a:pos x="65" y="128"/>
                  </a:cxn>
                  <a:cxn ang="0">
                    <a:pos x="61" y="124"/>
                  </a:cxn>
                  <a:cxn ang="0">
                    <a:pos x="59" y="121"/>
                  </a:cxn>
                  <a:cxn ang="0">
                    <a:pos x="56" y="116"/>
                  </a:cxn>
                  <a:cxn ang="0">
                    <a:pos x="51" y="110"/>
                  </a:cxn>
                  <a:cxn ang="0">
                    <a:pos x="50" y="102"/>
                  </a:cxn>
                  <a:cxn ang="0">
                    <a:pos x="46" y="99"/>
                  </a:cxn>
                  <a:cxn ang="0">
                    <a:pos x="42" y="97"/>
                  </a:cxn>
                  <a:cxn ang="0">
                    <a:pos x="38" y="92"/>
                  </a:cxn>
                  <a:cxn ang="0">
                    <a:pos x="35" y="90"/>
                  </a:cxn>
                  <a:cxn ang="0">
                    <a:pos x="28" y="84"/>
                  </a:cxn>
                  <a:cxn ang="0">
                    <a:pos x="24" y="82"/>
                  </a:cxn>
                  <a:cxn ang="0">
                    <a:pos x="20" y="77"/>
                  </a:cxn>
                  <a:cxn ang="0">
                    <a:pos x="17" y="75"/>
                  </a:cxn>
                  <a:cxn ang="0">
                    <a:pos x="10" y="69"/>
                  </a:cxn>
                  <a:cxn ang="0">
                    <a:pos x="7" y="67"/>
                  </a:cxn>
                  <a:cxn ang="0">
                    <a:pos x="2" y="63"/>
                  </a:cxn>
                  <a:cxn ang="0">
                    <a:pos x="0" y="59"/>
                  </a:cxn>
                  <a:cxn ang="0">
                    <a:pos x="8" y="49"/>
                  </a:cxn>
                  <a:cxn ang="0">
                    <a:pos x="18" y="41"/>
                  </a:cxn>
                  <a:cxn ang="0">
                    <a:pos x="35" y="26"/>
                  </a:cxn>
                  <a:cxn ang="0">
                    <a:pos x="44" y="18"/>
                  </a:cxn>
                  <a:cxn ang="0">
                    <a:pos x="51" y="20"/>
                  </a:cxn>
                  <a:cxn ang="0">
                    <a:pos x="59" y="5"/>
                  </a:cxn>
                  <a:cxn ang="0">
                    <a:pos x="70" y="1"/>
                  </a:cxn>
                  <a:cxn ang="0">
                    <a:pos x="81" y="11"/>
                  </a:cxn>
                  <a:cxn ang="0">
                    <a:pos x="92" y="24"/>
                  </a:cxn>
                </a:cxnLst>
                <a:rect l="0" t="0" r="r" b="b"/>
                <a:pathLst>
                  <a:path w="198" h="167">
                    <a:moveTo>
                      <a:pt x="98" y="25"/>
                    </a:moveTo>
                    <a:lnTo>
                      <a:pt x="99" y="27"/>
                    </a:lnTo>
                    <a:lnTo>
                      <a:pt x="99" y="28"/>
                    </a:lnTo>
                    <a:lnTo>
                      <a:pt x="100" y="30"/>
                    </a:lnTo>
                    <a:lnTo>
                      <a:pt x="101" y="31"/>
                    </a:lnTo>
                    <a:lnTo>
                      <a:pt x="102" y="32"/>
                    </a:lnTo>
                    <a:lnTo>
                      <a:pt x="103" y="33"/>
                    </a:lnTo>
                    <a:lnTo>
                      <a:pt x="104" y="34"/>
                    </a:lnTo>
                    <a:lnTo>
                      <a:pt x="106" y="35"/>
                    </a:lnTo>
                    <a:lnTo>
                      <a:pt x="107" y="35"/>
                    </a:lnTo>
                    <a:lnTo>
                      <a:pt x="109" y="36"/>
                    </a:lnTo>
                    <a:lnTo>
                      <a:pt x="110" y="37"/>
                    </a:lnTo>
                    <a:lnTo>
                      <a:pt x="112" y="37"/>
                    </a:lnTo>
                    <a:lnTo>
                      <a:pt x="114" y="38"/>
                    </a:lnTo>
                    <a:lnTo>
                      <a:pt x="116" y="38"/>
                    </a:lnTo>
                    <a:lnTo>
                      <a:pt x="118" y="38"/>
                    </a:lnTo>
                    <a:lnTo>
                      <a:pt x="120" y="39"/>
                    </a:lnTo>
                    <a:lnTo>
                      <a:pt x="121" y="40"/>
                    </a:lnTo>
                    <a:lnTo>
                      <a:pt x="123" y="41"/>
                    </a:lnTo>
                    <a:lnTo>
                      <a:pt x="125" y="42"/>
                    </a:lnTo>
                    <a:lnTo>
                      <a:pt x="127" y="44"/>
                    </a:lnTo>
                    <a:lnTo>
                      <a:pt x="131" y="46"/>
                    </a:lnTo>
                    <a:lnTo>
                      <a:pt x="134" y="48"/>
                    </a:lnTo>
                    <a:lnTo>
                      <a:pt x="138" y="51"/>
                    </a:lnTo>
                    <a:lnTo>
                      <a:pt x="142" y="53"/>
                    </a:lnTo>
                    <a:lnTo>
                      <a:pt x="144" y="54"/>
                    </a:lnTo>
                    <a:lnTo>
                      <a:pt x="146" y="56"/>
                    </a:lnTo>
                    <a:lnTo>
                      <a:pt x="148" y="57"/>
                    </a:lnTo>
                    <a:lnTo>
                      <a:pt x="149" y="58"/>
                    </a:lnTo>
                    <a:lnTo>
                      <a:pt x="152" y="58"/>
                    </a:lnTo>
                    <a:lnTo>
                      <a:pt x="154" y="58"/>
                    </a:lnTo>
                    <a:lnTo>
                      <a:pt x="157" y="58"/>
                    </a:lnTo>
                    <a:lnTo>
                      <a:pt x="159" y="58"/>
                    </a:lnTo>
                    <a:lnTo>
                      <a:pt x="164" y="58"/>
                    </a:lnTo>
                    <a:lnTo>
                      <a:pt x="169" y="58"/>
                    </a:lnTo>
                    <a:lnTo>
                      <a:pt x="171" y="58"/>
                    </a:lnTo>
                    <a:lnTo>
                      <a:pt x="174" y="58"/>
                    </a:lnTo>
                    <a:lnTo>
                      <a:pt x="176" y="58"/>
                    </a:lnTo>
                    <a:lnTo>
                      <a:pt x="178" y="58"/>
                    </a:lnTo>
                    <a:lnTo>
                      <a:pt x="180" y="59"/>
                    </a:lnTo>
                    <a:lnTo>
                      <a:pt x="182" y="59"/>
                    </a:lnTo>
                    <a:lnTo>
                      <a:pt x="184" y="59"/>
                    </a:lnTo>
                    <a:lnTo>
                      <a:pt x="186" y="60"/>
                    </a:lnTo>
                    <a:lnTo>
                      <a:pt x="186" y="61"/>
                    </a:lnTo>
                    <a:lnTo>
                      <a:pt x="186" y="63"/>
                    </a:lnTo>
                    <a:lnTo>
                      <a:pt x="186" y="64"/>
                    </a:lnTo>
                    <a:lnTo>
                      <a:pt x="186" y="65"/>
                    </a:lnTo>
                    <a:lnTo>
                      <a:pt x="186" y="66"/>
                    </a:lnTo>
                    <a:lnTo>
                      <a:pt x="186" y="67"/>
                    </a:lnTo>
                    <a:lnTo>
                      <a:pt x="185" y="69"/>
                    </a:lnTo>
                    <a:lnTo>
                      <a:pt x="184" y="71"/>
                    </a:lnTo>
                    <a:lnTo>
                      <a:pt x="184" y="73"/>
                    </a:lnTo>
                    <a:lnTo>
                      <a:pt x="183" y="75"/>
                    </a:lnTo>
                    <a:lnTo>
                      <a:pt x="183" y="76"/>
                    </a:lnTo>
                    <a:lnTo>
                      <a:pt x="183" y="77"/>
                    </a:lnTo>
                    <a:lnTo>
                      <a:pt x="183" y="77"/>
                    </a:lnTo>
                    <a:lnTo>
                      <a:pt x="183" y="78"/>
                    </a:lnTo>
                    <a:lnTo>
                      <a:pt x="183" y="79"/>
                    </a:lnTo>
                    <a:lnTo>
                      <a:pt x="183" y="79"/>
                    </a:lnTo>
                    <a:lnTo>
                      <a:pt x="183" y="80"/>
                    </a:lnTo>
                    <a:lnTo>
                      <a:pt x="183" y="81"/>
                    </a:lnTo>
                    <a:lnTo>
                      <a:pt x="184" y="82"/>
                    </a:lnTo>
                    <a:lnTo>
                      <a:pt x="184" y="82"/>
                    </a:lnTo>
                    <a:lnTo>
                      <a:pt x="185" y="83"/>
                    </a:lnTo>
                    <a:lnTo>
                      <a:pt x="185" y="84"/>
                    </a:lnTo>
                    <a:lnTo>
                      <a:pt x="187" y="85"/>
                    </a:lnTo>
                    <a:lnTo>
                      <a:pt x="187" y="85"/>
                    </a:lnTo>
                    <a:lnTo>
                      <a:pt x="188" y="86"/>
                    </a:lnTo>
                    <a:lnTo>
                      <a:pt x="188" y="86"/>
                    </a:lnTo>
                    <a:lnTo>
                      <a:pt x="189" y="87"/>
                    </a:lnTo>
                    <a:lnTo>
                      <a:pt x="189" y="88"/>
                    </a:lnTo>
                    <a:lnTo>
                      <a:pt x="189" y="88"/>
                    </a:lnTo>
                    <a:lnTo>
                      <a:pt x="189" y="93"/>
                    </a:lnTo>
                    <a:lnTo>
                      <a:pt x="189" y="98"/>
                    </a:lnTo>
                    <a:lnTo>
                      <a:pt x="189" y="102"/>
                    </a:lnTo>
                    <a:lnTo>
                      <a:pt x="189" y="107"/>
                    </a:lnTo>
                    <a:lnTo>
                      <a:pt x="190" y="108"/>
                    </a:lnTo>
                    <a:lnTo>
                      <a:pt x="190" y="109"/>
                    </a:lnTo>
                    <a:lnTo>
                      <a:pt x="190" y="110"/>
                    </a:lnTo>
                    <a:lnTo>
                      <a:pt x="190" y="110"/>
                    </a:lnTo>
                    <a:lnTo>
                      <a:pt x="191" y="111"/>
                    </a:lnTo>
                    <a:lnTo>
                      <a:pt x="191" y="112"/>
                    </a:lnTo>
                    <a:lnTo>
                      <a:pt x="192" y="112"/>
                    </a:lnTo>
                    <a:lnTo>
                      <a:pt x="193" y="113"/>
                    </a:lnTo>
                    <a:lnTo>
                      <a:pt x="194" y="113"/>
                    </a:lnTo>
                    <a:lnTo>
                      <a:pt x="195" y="114"/>
                    </a:lnTo>
                    <a:lnTo>
                      <a:pt x="196" y="115"/>
                    </a:lnTo>
                    <a:lnTo>
                      <a:pt x="197" y="115"/>
                    </a:lnTo>
                    <a:lnTo>
                      <a:pt x="197" y="116"/>
                    </a:lnTo>
                    <a:lnTo>
                      <a:pt x="198" y="117"/>
                    </a:lnTo>
                    <a:lnTo>
                      <a:pt x="198" y="118"/>
                    </a:lnTo>
                    <a:lnTo>
                      <a:pt x="198" y="120"/>
                    </a:lnTo>
                    <a:lnTo>
                      <a:pt x="198" y="122"/>
                    </a:lnTo>
                    <a:lnTo>
                      <a:pt x="198" y="123"/>
                    </a:lnTo>
                    <a:lnTo>
                      <a:pt x="198" y="125"/>
                    </a:lnTo>
                    <a:lnTo>
                      <a:pt x="198" y="126"/>
                    </a:lnTo>
                    <a:lnTo>
                      <a:pt x="198" y="127"/>
                    </a:lnTo>
                    <a:lnTo>
                      <a:pt x="198" y="129"/>
                    </a:lnTo>
                    <a:lnTo>
                      <a:pt x="197" y="130"/>
                    </a:lnTo>
                    <a:lnTo>
                      <a:pt x="197" y="131"/>
                    </a:lnTo>
                    <a:lnTo>
                      <a:pt x="196" y="132"/>
                    </a:lnTo>
                    <a:lnTo>
                      <a:pt x="196" y="133"/>
                    </a:lnTo>
                    <a:lnTo>
                      <a:pt x="195" y="134"/>
                    </a:lnTo>
                    <a:lnTo>
                      <a:pt x="195" y="135"/>
                    </a:lnTo>
                    <a:lnTo>
                      <a:pt x="194" y="136"/>
                    </a:lnTo>
                    <a:lnTo>
                      <a:pt x="193" y="137"/>
                    </a:lnTo>
                    <a:lnTo>
                      <a:pt x="193" y="137"/>
                    </a:lnTo>
                    <a:lnTo>
                      <a:pt x="192" y="138"/>
                    </a:lnTo>
                    <a:lnTo>
                      <a:pt x="192" y="139"/>
                    </a:lnTo>
                    <a:lnTo>
                      <a:pt x="193" y="139"/>
                    </a:lnTo>
                    <a:lnTo>
                      <a:pt x="193" y="140"/>
                    </a:lnTo>
                    <a:lnTo>
                      <a:pt x="193" y="140"/>
                    </a:lnTo>
                    <a:lnTo>
                      <a:pt x="193" y="141"/>
                    </a:lnTo>
                    <a:lnTo>
                      <a:pt x="194" y="142"/>
                    </a:lnTo>
                    <a:lnTo>
                      <a:pt x="194" y="142"/>
                    </a:lnTo>
                    <a:lnTo>
                      <a:pt x="194" y="143"/>
                    </a:lnTo>
                    <a:lnTo>
                      <a:pt x="195" y="143"/>
                    </a:lnTo>
                    <a:lnTo>
                      <a:pt x="195" y="144"/>
                    </a:lnTo>
                    <a:lnTo>
                      <a:pt x="195" y="144"/>
                    </a:lnTo>
                    <a:lnTo>
                      <a:pt x="195" y="145"/>
                    </a:lnTo>
                    <a:lnTo>
                      <a:pt x="192" y="146"/>
                    </a:lnTo>
                    <a:lnTo>
                      <a:pt x="190" y="148"/>
                    </a:lnTo>
                    <a:lnTo>
                      <a:pt x="188" y="149"/>
                    </a:lnTo>
                    <a:lnTo>
                      <a:pt x="186" y="150"/>
                    </a:lnTo>
                    <a:lnTo>
                      <a:pt x="182" y="153"/>
                    </a:lnTo>
                    <a:lnTo>
                      <a:pt x="178" y="156"/>
                    </a:lnTo>
                    <a:lnTo>
                      <a:pt x="173" y="158"/>
                    </a:lnTo>
                    <a:lnTo>
                      <a:pt x="169" y="161"/>
                    </a:lnTo>
                    <a:lnTo>
                      <a:pt x="167" y="162"/>
                    </a:lnTo>
                    <a:lnTo>
                      <a:pt x="165" y="163"/>
                    </a:lnTo>
                    <a:lnTo>
                      <a:pt x="163" y="165"/>
                    </a:lnTo>
                    <a:lnTo>
                      <a:pt x="161" y="167"/>
                    </a:lnTo>
                    <a:lnTo>
                      <a:pt x="161" y="167"/>
                    </a:lnTo>
                    <a:lnTo>
                      <a:pt x="160" y="167"/>
                    </a:lnTo>
                    <a:lnTo>
                      <a:pt x="160" y="167"/>
                    </a:lnTo>
                    <a:lnTo>
                      <a:pt x="159" y="167"/>
                    </a:lnTo>
                    <a:lnTo>
                      <a:pt x="159" y="157"/>
                    </a:lnTo>
                    <a:lnTo>
                      <a:pt x="160" y="157"/>
                    </a:lnTo>
                    <a:lnTo>
                      <a:pt x="160" y="156"/>
                    </a:lnTo>
                    <a:lnTo>
                      <a:pt x="160" y="156"/>
                    </a:lnTo>
                    <a:lnTo>
                      <a:pt x="160" y="156"/>
                    </a:lnTo>
                    <a:lnTo>
                      <a:pt x="161" y="156"/>
                    </a:lnTo>
                    <a:lnTo>
                      <a:pt x="161" y="155"/>
                    </a:lnTo>
                    <a:lnTo>
                      <a:pt x="161" y="155"/>
                    </a:lnTo>
                    <a:lnTo>
                      <a:pt x="161" y="154"/>
                    </a:lnTo>
                    <a:lnTo>
                      <a:pt x="161" y="153"/>
                    </a:lnTo>
                    <a:lnTo>
                      <a:pt x="161" y="152"/>
                    </a:lnTo>
                    <a:lnTo>
                      <a:pt x="161" y="152"/>
                    </a:lnTo>
                    <a:lnTo>
                      <a:pt x="161" y="151"/>
                    </a:lnTo>
                    <a:lnTo>
                      <a:pt x="161" y="151"/>
                    </a:lnTo>
                    <a:lnTo>
                      <a:pt x="161" y="150"/>
                    </a:lnTo>
                    <a:lnTo>
                      <a:pt x="161" y="150"/>
                    </a:lnTo>
                    <a:lnTo>
                      <a:pt x="160" y="150"/>
                    </a:lnTo>
                    <a:lnTo>
                      <a:pt x="160" y="150"/>
                    </a:lnTo>
                    <a:lnTo>
                      <a:pt x="160" y="150"/>
                    </a:lnTo>
                    <a:lnTo>
                      <a:pt x="159" y="150"/>
                    </a:lnTo>
                    <a:lnTo>
                      <a:pt x="159" y="150"/>
                    </a:lnTo>
                    <a:lnTo>
                      <a:pt x="159" y="149"/>
                    </a:lnTo>
                    <a:lnTo>
                      <a:pt x="159" y="149"/>
                    </a:lnTo>
                    <a:lnTo>
                      <a:pt x="159" y="149"/>
                    </a:lnTo>
                    <a:lnTo>
                      <a:pt x="159" y="149"/>
                    </a:lnTo>
                    <a:lnTo>
                      <a:pt x="159" y="149"/>
                    </a:lnTo>
                    <a:lnTo>
                      <a:pt x="159" y="149"/>
                    </a:lnTo>
                    <a:lnTo>
                      <a:pt x="158" y="149"/>
                    </a:lnTo>
                    <a:lnTo>
                      <a:pt x="158" y="149"/>
                    </a:lnTo>
                    <a:lnTo>
                      <a:pt x="158" y="149"/>
                    </a:lnTo>
                    <a:lnTo>
                      <a:pt x="158" y="150"/>
                    </a:lnTo>
                    <a:lnTo>
                      <a:pt x="158" y="150"/>
                    </a:lnTo>
                    <a:lnTo>
                      <a:pt x="158" y="150"/>
                    </a:lnTo>
                    <a:lnTo>
                      <a:pt x="157" y="150"/>
                    </a:lnTo>
                    <a:lnTo>
                      <a:pt x="157" y="151"/>
                    </a:lnTo>
                    <a:lnTo>
                      <a:pt x="156" y="151"/>
                    </a:lnTo>
                    <a:lnTo>
                      <a:pt x="155" y="151"/>
                    </a:lnTo>
                    <a:lnTo>
                      <a:pt x="155" y="151"/>
                    </a:lnTo>
                    <a:lnTo>
                      <a:pt x="154" y="152"/>
                    </a:lnTo>
                    <a:lnTo>
                      <a:pt x="153" y="152"/>
                    </a:lnTo>
                    <a:lnTo>
                      <a:pt x="153" y="152"/>
                    </a:lnTo>
                    <a:lnTo>
                      <a:pt x="152" y="152"/>
                    </a:lnTo>
                    <a:lnTo>
                      <a:pt x="152" y="151"/>
                    </a:lnTo>
                    <a:lnTo>
                      <a:pt x="151" y="151"/>
                    </a:lnTo>
                    <a:lnTo>
                      <a:pt x="151" y="151"/>
                    </a:lnTo>
                    <a:lnTo>
                      <a:pt x="151" y="150"/>
                    </a:lnTo>
                    <a:lnTo>
                      <a:pt x="151" y="150"/>
                    </a:lnTo>
                    <a:lnTo>
                      <a:pt x="151" y="150"/>
                    </a:lnTo>
                    <a:lnTo>
                      <a:pt x="151" y="149"/>
                    </a:lnTo>
                    <a:lnTo>
                      <a:pt x="151" y="149"/>
                    </a:lnTo>
                    <a:lnTo>
                      <a:pt x="151" y="148"/>
                    </a:lnTo>
                    <a:lnTo>
                      <a:pt x="151" y="148"/>
                    </a:lnTo>
                    <a:lnTo>
                      <a:pt x="151" y="147"/>
                    </a:lnTo>
                    <a:lnTo>
                      <a:pt x="151" y="147"/>
                    </a:lnTo>
                    <a:lnTo>
                      <a:pt x="151" y="147"/>
                    </a:lnTo>
                    <a:lnTo>
                      <a:pt x="151" y="147"/>
                    </a:lnTo>
                    <a:lnTo>
                      <a:pt x="150" y="147"/>
                    </a:lnTo>
                    <a:lnTo>
                      <a:pt x="149" y="147"/>
                    </a:lnTo>
                    <a:lnTo>
                      <a:pt x="149" y="145"/>
                    </a:lnTo>
                    <a:lnTo>
                      <a:pt x="149" y="144"/>
                    </a:lnTo>
                    <a:lnTo>
                      <a:pt x="149" y="143"/>
                    </a:lnTo>
                    <a:lnTo>
                      <a:pt x="148" y="141"/>
                    </a:lnTo>
                    <a:lnTo>
                      <a:pt x="147" y="140"/>
                    </a:lnTo>
                    <a:lnTo>
                      <a:pt x="147" y="140"/>
                    </a:lnTo>
                    <a:lnTo>
                      <a:pt x="146" y="139"/>
                    </a:lnTo>
                    <a:lnTo>
                      <a:pt x="146" y="139"/>
                    </a:lnTo>
                    <a:lnTo>
                      <a:pt x="145" y="138"/>
                    </a:lnTo>
                    <a:lnTo>
                      <a:pt x="145" y="138"/>
                    </a:lnTo>
                    <a:lnTo>
                      <a:pt x="145" y="138"/>
                    </a:lnTo>
                    <a:lnTo>
                      <a:pt x="145" y="137"/>
                    </a:lnTo>
                    <a:lnTo>
                      <a:pt x="144" y="137"/>
                    </a:lnTo>
                    <a:lnTo>
                      <a:pt x="144" y="137"/>
                    </a:lnTo>
                    <a:lnTo>
                      <a:pt x="144" y="137"/>
                    </a:lnTo>
                    <a:lnTo>
                      <a:pt x="144" y="137"/>
                    </a:lnTo>
                    <a:lnTo>
                      <a:pt x="143" y="137"/>
                    </a:lnTo>
                    <a:lnTo>
                      <a:pt x="142" y="137"/>
                    </a:lnTo>
                    <a:lnTo>
                      <a:pt x="142" y="137"/>
                    </a:lnTo>
                    <a:lnTo>
                      <a:pt x="142" y="137"/>
                    </a:lnTo>
                    <a:lnTo>
                      <a:pt x="141" y="137"/>
                    </a:lnTo>
                    <a:lnTo>
                      <a:pt x="141" y="136"/>
                    </a:lnTo>
                    <a:lnTo>
                      <a:pt x="141" y="135"/>
                    </a:lnTo>
                    <a:lnTo>
                      <a:pt x="140" y="135"/>
                    </a:lnTo>
                    <a:lnTo>
                      <a:pt x="140" y="135"/>
                    </a:lnTo>
                    <a:lnTo>
                      <a:pt x="139" y="134"/>
                    </a:lnTo>
                    <a:lnTo>
                      <a:pt x="139" y="134"/>
                    </a:lnTo>
                    <a:lnTo>
                      <a:pt x="138" y="133"/>
                    </a:lnTo>
                    <a:lnTo>
                      <a:pt x="138" y="133"/>
                    </a:lnTo>
                    <a:lnTo>
                      <a:pt x="138" y="132"/>
                    </a:lnTo>
                    <a:lnTo>
                      <a:pt x="137" y="132"/>
                    </a:lnTo>
                    <a:lnTo>
                      <a:pt x="137" y="131"/>
                    </a:lnTo>
                    <a:lnTo>
                      <a:pt x="136" y="131"/>
                    </a:lnTo>
                    <a:lnTo>
                      <a:pt x="136" y="130"/>
                    </a:lnTo>
                    <a:lnTo>
                      <a:pt x="135" y="130"/>
                    </a:lnTo>
                    <a:lnTo>
                      <a:pt x="135" y="129"/>
                    </a:lnTo>
                    <a:lnTo>
                      <a:pt x="135" y="129"/>
                    </a:lnTo>
                    <a:lnTo>
                      <a:pt x="134" y="128"/>
                    </a:lnTo>
                    <a:lnTo>
                      <a:pt x="134" y="128"/>
                    </a:lnTo>
                    <a:lnTo>
                      <a:pt x="134" y="127"/>
                    </a:lnTo>
                    <a:lnTo>
                      <a:pt x="134" y="127"/>
                    </a:lnTo>
                    <a:lnTo>
                      <a:pt x="134" y="126"/>
                    </a:lnTo>
                    <a:lnTo>
                      <a:pt x="133" y="126"/>
                    </a:lnTo>
                    <a:lnTo>
                      <a:pt x="133" y="125"/>
                    </a:lnTo>
                    <a:lnTo>
                      <a:pt x="133" y="125"/>
                    </a:lnTo>
                    <a:lnTo>
                      <a:pt x="132" y="125"/>
                    </a:lnTo>
                    <a:lnTo>
                      <a:pt x="132" y="125"/>
                    </a:lnTo>
                    <a:lnTo>
                      <a:pt x="131" y="125"/>
                    </a:lnTo>
                    <a:lnTo>
                      <a:pt x="131" y="125"/>
                    </a:lnTo>
                    <a:lnTo>
                      <a:pt x="130" y="125"/>
                    </a:lnTo>
                    <a:lnTo>
                      <a:pt x="130" y="126"/>
                    </a:lnTo>
                    <a:lnTo>
                      <a:pt x="130" y="126"/>
                    </a:lnTo>
                    <a:lnTo>
                      <a:pt x="130" y="126"/>
                    </a:lnTo>
                    <a:lnTo>
                      <a:pt x="130" y="127"/>
                    </a:lnTo>
                    <a:lnTo>
                      <a:pt x="129" y="127"/>
                    </a:lnTo>
                    <a:lnTo>
                      <a:pt x="129" y="127"/>
                    </a:lnTo>
                    <a:lnTo>
                      <a:pt x="128" y="127"/>
                    </a:lnTo>
                    <a:lnTo>
                      <a:pt x="128" y="127"/>
                    </a:lnTo>
                    <a:lnTo>
                      <a:pt x="127" y="128"/>
                    </a:lnTo>
                    <a:lnTo>
                      <a:pt x="127" y="128"/>
                    </a:lnTo>
                    <a:lnTo>
                      <a:pt x="126" y="128"/>
                    </a:lnTo>
                    <a:lnTo>
                      <a:pt x="126" y="128"/>
                    </a:lnTo>
                    <a:lnTo>
                      <a:pt x="125" y="128"/>
                    </a:lnTo>
                    <a:lnTo>
                      <a:pt x="125" y="128"/>
                    </a:lnTo>
                    <a:lnTo>
                      <a:pt x="125" y="128"/>
                    </a:lnTo>
                    <a:lnTo>
                      <a:pt x="125" y="129"/>
                    </a:lnTo>
                    <a:lnTo>
                      <a:pt x="125" y="129"/>
                    </a:lnTo>
                    <a:lnTo>
                      <a:pt x="124" y="129"/>
                    </a:lnTo>
                    <a:lnTo>
                      <a:pt x="124" y="130"/>
                    </a:lnTo>
                    <a:lnTo>
                      <a:pt x="124" y="130"/>
                    </a:lnTo>
                    <a:lnTo>
                      <a:pt x="123" y="131"/>
                    </a:lnTo>
                    <a:lnTo>
                      <a:pt x="122" y="131"/>
                    </a:lnTo>
                    <a:lnTo>
                      <a:pt x="121" y="131"/>
                    </a:lnTo>
                    <a:lnTo>
                      <a:pt x="120" y="132"/>
                    </a:lnTo>
                    <a:lnTo>
                      <a:pt x="119" y="132"/>
                    </a:lnTo>
                    <a:lnTo>
                      <a:pt x="118" y="132"/>
                    </a:lnTo>
                    <a:lnTo>
                      <a:pt x="116" y="132"/>
                    </a:lnTo>
                    <a:lnTo>
                      <a:pt x="116" y="131"/>
                    </a:lnTo>
                    <a:lnTo>
                      <a:pt x="116" y="131"/>
                    </a:lnTo>
                    <a:lnTo>
                      <a:pt x="116" y="131"/>
                    </a:lnTo>
                    <a:lnTo>
                      <a:pt x="115" y="131"/>
                    </a:lnTo>
                    <a:lnTo>
                      <a:pt x="115" y="130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3" y="130"/>
                    </a:lnTo>
                    <a:lnTo>
                      <a:pt x="113" y="130"/>
                    </a:lnTo>
                    <a:lnTo>
                      <a:pt x="110" y="130"/>
                    </a:lnTo>
                    <a:lnTo>
                      <a:pt x="106" y="130"/>
                    </a:lnTo>
                    <a:lnTo>
                      <a:pt x="103" y="130"/>
                    </a:lnTo>
                    <a:lnTo>
                      <a:pt x="100" y="130"/>
                    </a:lnTo>
                    <a:lnTo>
                      <a:pt x="100" y="129"/>
                    </a:lnTo>
                    <a:lnTo>
                      <a:pt x="100" y="129"/>
                    </a:lnTo>
                    <a:lnTo>
                      <a:pt x="99" y="129"/>
                    </a:lnTo>
                    <a:lnTo>
                      <a:pt x="99" y="128"/>
                    </a:lnTo>
                    <a:lnTo>
                      <a:pt x="99" y="128"/>
                    </a:lnTo>
                    <a:lnTo>
                      <a:pt x="99" y="128"/>
                    </a:lnTo>
                    <a:lnTo>
                      <a:pt x="98" y="128"/>
                    </a:lnTo>
                    <a:lnTo>
                      <a:pt x="97" y="128"/>
                    </a:lnTo>
                    <a:lnTo>
                      <a:pt x="97" y="128"/>
                    </a:lnTo>
                    <a:lnTo>
                      <a:pt x="96" y="128"/>
                    </a:lnTo>
                    <a:lnTo>
                      <a:pt x="96" y="128"/>
                    </a:lnTo>
                    <a:lnTo>
                      <a:pt x="95" y="128"/>
                    </a:lnTo>
                    <a:lnTo>
                      <a:pt x="94" y="127"/>
                    </a:lnTo>
                    <a:lnTo>
                      <a:pt x="94" y="127"/>
                    </a:lnTo>
                    <a:lnTo>
                      <a:pt x="93" y="127"/>
                    </a:lnTo>
                    <a:lnTo>
                      <a:pt x="93" y="127"/>
                    </a:lnTo>
                    <a:lnTo>
                      <a:pt x="92" y="127"/>
                    </a:lnTo>
                    <a:lnTo>
                      <a:pt x="92" y="127"/>
                    </a:lnTo>
                    <a:lnTo>
                      <a:pt x="91" y="127"/>
                    </a:lnTo>
                    <a:lnTo>
                      <a:pt x="90" y="127"/>
                    </a:lnTo>
                    <a:lnTo>
                      <a:pt x="90" y="127"/>
                    </a:lnTo>
                    <a:lnTo>
                      <a:pt x="89" y="127"/>
                    </a:lnTo>
                    <a:lnTo>
                      <a:pt x="89" y="127"/>
                    </a:lnTo>
                    <a:lnTo>
                      <a:pt x="89" y="127"/>
                    </a:lnTo>
                    <a:lnTo>
                      <a:pt x="88" y="127"/>
                    </a:lnTo>
                    <a:lnTo>
                      <a:pt x="88" y="128"/>
                    </a:lnTo>
                    <a:lnTo>
                      <a:pt x="88" y="128"/>
                    </a:lnTo>
                    <a:lnTo>
                      <a:pt x="86" y="128"/>
                    </a:lnTo>
                    <a:lnTo>
                      <a:pt x="84" y="128"/>
                    </a:lnTo>
                    <a:lnTo>
                      <a:pt x="82" y="128"/>
                    </a:lnTo>
                    <a:lnTo>
                      <a:pt x="80" y="128"/>
                    </a:lnTo>
                    <a:lnTo>
                      <a:pt x="79" y="128"/>
                    </a:lnTo>
                    <a:lnTo>
                      <a:pt x="79" y="128"/>
                    </a:lnTo>
                    <a:lnTo>
                      <a:pt x="78" y="128"/>
                    </a:lnTo>
                    <a:lnTo>
                      <a:pt x="78" y="128"/>
                    </a:lnTo>
                    <a:lnTo>
                      <a:pt x="78" y="129"/>
                    </a:lnTo>
                    <a:lnTo>
                      <a:pt x="78" y="129"/>
                    </a:lnTo>
                    <a:lnTo>
                      <a:pt x="78" y="129"/>
                    </a:lnTo>
                    <a:lnTo>
                      <a:pt x="78" y="130"/>
                    </a:lnTo>
                    <a:lnTo>
                      <a:pt x="68" y="130"/>
                    </a:lnTo>
                    <a:lnTo>
                      <a:pt x="67" y="130"/>
                    </a:lnTo>
                    <a:lnTo>
                      <a:pt x="67" y="130"/>
                    </a:lnTo>
                    <a:lnTo>
                      <a:pt x="66" y="129"/>
                    </a:lnTo>
                    <a:lnTo>
                      <a:pt x="66" y="129"/>
                    </a:lnTo>
                    <a:lnTo>
                      <a:pt x="65" y="129"/>
                    </a:lnTo>
                    <a:lnTo>
                      <a:pt x="65" y="128"/>
                    </a:lnTo>
                    <a:lnTo>
                      <a:pt x="65" y="128"/>
                    </a:lnTo>
                    <a:lnTo>
                      <a:pt x="65" y="128"/>
                    </a:lnTo>
                    <a:lnTo>
                      <a:pt x="64" y="127"/>
                    </a:lnTo>
                    <a:lnTo>
                      <a:pt x="64" y="127"/>
                    </a:lnTo>
                    <a:lnTo>
                      <a:pt x="63" y="126"/>
                    </a:lnTo>
                    <a:lnTo>
                      <a:pt x="63" y="126"/>
                    </a:lnTo>
                    <a:lnTo>
                      <a:pt x="62" y="125"/>
                    </a:lnTo>
                    <a:lnTo>
                      <a:pt x="62" y="125"/>
                    </a:lnTo>
                    <a:lnTo>
                      <a:pt x="62" y="124"/>
                    </a:lnTo>
                    <a:lnTo>
                      <a:pt x="61" y="124"/>
                    </a:lnTo>
                    <a:lnTo>
                      <a:pt x="61" y="123"/>
                    </a:lnTo>
                    <a:lnTo>
                      <a:pt x="61" y="123"/>
                    </a:lnTo>
                    <a:lnTo>
                      <a:pt x="61" y="122"/>
                    </a:lnTo>
                    <a:lnTo>
                      <a:pt x="61" y="122"/>
                    </a:lnTo>
                    <a:lnTo>
                      <a:pt x="61" y="122"/>
                    </a:lnTo>
                    <a:lnTo>
                      <a:pt x="61" y="122"/>
                    </a:lnTo>
                    <a:lnTo>
                      <a:pt x="60" y="122"/>
                    </a:lnTo>
                    <a:lnTo>
                      <a:pt x="60" y="122"/>
                    </a:lnTo>
                    <a:lnTo>
                      <a:pt x="59" y="121"/>
                    </a:lnTo>
                    <a:lnTo>
                      <a:pt x="59" y="121"/>
                    </a:lnTo>
                    <a:lnTo>
                      <a:pt x="59" y="120"/>
                    </a:lnTo>
                    <a:lnTo>
                      <a:pt x="58" y="120"/>
                    </a:lnTo>
                    <a:lnTo>
                      <a:pt x="58" y="119"/>
                    </a:lnTo>
                    <a:lnTo>
                      <a:pt x="57" y="118"/>
                    </a:lnTo>
                    <a:lnTo>
                      <a:pt x="57" y="118"/>
                    </a:lnTo>
                    <a:lnTo>
                      <a:pt x="56" y="117"/>
                    </a:lnTo>
                    <a:lnTo>
                      <a:pt x="56" y="117"/>
                    </a:lnTo>
                    <a:lnTo>
                      <a:pt x="56" y="117"/>
                    </a:lnTo>
                    <a:lnTo>
                      <a:pt x="56" y="116"/>
                    </a:lnTo>
                    <a:lnTo>
                      <a:pt x="56" y="116"/>
                    </a:lnTo>
                    <a:lnTo>
                      <a:pt x="56" y="115"/>
                    </a:lnTo>
                    <a:lnTo>
                      <a:pt x="56" y="115"/>
                    </a:lnTo>
                    <a:lnTo>
                      <a:pt x="56" y="115"/>
                    </a:lnTo>
                    <a:lnTo>
                      <a:pt x="55" y="115"/>
                    </a:lnTo>
                    <a:lnTo>
                      <a:pt x="55" y="115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3" y="112"/>
                    </a:lnTo>
                    <a:lnTo>
                      <a:pt x="52" y="111"/>
                    </a:lnTo>
                    <a:lnTo>
                      <a:pt x="51" y="110"/>
                    </a:lnTo>
                    <a:lnTo>
                      <a:pt x="51" y="110"/>
                    </a:lnTo>
                    <a:lnTo>
                      <a:pt x="50" y="109"/>
                    </a:lnTo>
                    <a:lnTo>
                      <a:pt x="50" y="108"/>
                    </a:lnTo>
                    <a:lnTo>
                      <a:pt x="50" y="107"/>
                    </a:lnTo>
                    <a:lnTo>
                      <a:pt x="50" y="106"/>
                    </a:lnTo>
                    <a:lnTo>
                      <a:pt x="50" y="105"/>
                    </a:lnTo>
                    <a:lnTo>
                      <a:pt x="50" y="104"/>
                    </a:lnTo>
                    <a:lnTo>
                      <a:pt x="50" y="103"/>
                    </a:lnTo>
                    <a:lnTo>
                      <a:pt x="50" y="103"/>
                    </a:lnTo>
                    <a:lnTo>
                      <a:pt x="50" y="102"/>
                    </a:lnTo>
                    <a:lnTo>
                      <a:pt x="50" y="102"/>
                    </a:lnTo>
                    <a:lnTo>
                      <a:pt x="49" y="102"/>
                    </a:lnTo>
                    <a:lnTo>
                      <a:pt x="49" y="102"/>
                    </a:lnTo>
                    <a:lnTo>
                      <a:pt x="49" y="102"/>
                    </a:lnTo>
                    <a:lnTo>
                      <a:pt x="48" y="102"/>
                    </a:lnTo>
                    <a:lnTo>
                      <a:pt x="48" y="101"/>
                    </a:lnTo>
                    <a:lnTo>
                      <a:pt x="47" y="100"/>
                    </a:lnTo>
                    <a:lnTo>
                      <a:pt x="47" y="100"/>
                    </a:lnTo>
                    <a:lnTo>
                      <a:pt x="47" y="100"/>
                    </a:lnTo>
                    <a:lnTo>
                      <a:pt x="46" y="99"/>
                    </a:lnTo>
                    <a:lnTo>
                      <a:pt x="46" y="99"/>
                    </a:lnTo>
                    <a:lnTo>
                      <a:pt x="45" y="98"/>
                    </a:lnTo>
                    <a:lnTo>
                      <a:pt x="45" y="98"/>
                    </a:lnTo>
                    <a:lnTo>
                      <a:pt x="45" y="97"/>
                    </a:lnTo>
                    <a:lnTo>
                      <a:pt x="44" y="97"/>
                    </a:lnTo>
                    <a:lnTo>
                      <a:pt x="44" y="97"/>
                    </a:lnTo>
                    <a:lnTo>
                      <a:pt x="44" y="97"/>
                    </a:lnTo>
                    <a:lnTo>
                      <a:pt x="44" y="97"/>
                    </a:lnTo>
                    <a:lnTo>
                      <a:pt x="43" y="97"/>
                    </a:lnTo>
                    <a:lnTo>
                      <a:pt x="42" y="97"/>
                    </a:lnTo>
                    <a:lnTo>
                      <a:pt x="42" y="96"/>
                    </a:lnTo>
                    <a:lnTo>
                      <a:pt x="41" y="96"/>
                    </a:lnTo>
                    <a:lnTo>
                      <a:pt x="41" y="96"/>
                    </a:lnTo>
                    <a:lnTo>
                      <a:pt x="41" y="96"/>
                    </a:lnTo>
                    <a:lnTo>
                      <a:pt x="40" y="95"/>
                    </a:lnTo>
                    <a:lnTo>
                      <a:pt x="40" y="94"/>
                    </a:lnTo>
                    <a:lnTo>
                      <a:pt x="39" y="93"/>
                    </a:lnTo>
                    <a:lnTo>
                      <a:pt x="39" y="93"/>
                    </a:lnTo>
                    <a:lnTo>
                      <a:pt x="38" y="93"/>
                    </a:lnTo>
                    <a:lnTo>
                      <a:pt x="38" y="92"/>
                    </a:lnTo>
                    <a:lnTo>
                      <a:pt x="37" y="92"/>
                    </a:lnTo>
                    <a:lnTo>
                      <a:pt x="37" y="92"/>
                    </a:lnTo>
                    <a:lnTo>
                      <a:pt x="36" y="92"/>
                    </a:lnTo>
                    <a:lnTo>
                      <a:pt x="36" y="91"/>
                    </a:lnTo>
                    <a:lnTo>
                      <a:pt x="36" y="91"/>
                    </a:lnTo>
                    <a:lnTo>
                      <a:pt x="36" y="90"/>
                    </a:lnTo>
                    <a:lnTo>
                      <a:pt x="36" y="90"/>
                    </a:lnTo>
                    <a:lnTo>
                      <a:pt x="36" y="90"/>
                    </a:lnTo>
                    <a:lnTo>
                      <a:pt x="35" y="90"/>
                    </a:lnTo>
                    <a:lnTo>
                      <a:pt x="35" y="90"/>
                    </a:lnTo>
                    <a:lnTo>
                      <a:pt x="34" y="90"/>
                    </a:lnTo>
                    <a:lnTo>
                      <a:pt x="33" y="89"/>
                    </a:lnTo>
                    <a:lnTo>
                      <a:pt x="33" y="89"/>
                    </a:lnTo>
                    <a:lnTo>
                      <a:pt x="32" y="89"/>
                    </a:lnTo>
                    <a:lnTo>
                      <a:pt x="31" y="88"/>
                    </a:lnTo>
                    <a:lnTo>
                      <a:pt x="30" y="87"/>
                    </a:lnTo>
                    <a:lnTo>
                      <a:pt x="30" y="86"/>
                    </a:lnTo>
                    <a:lnTo>
                      <a:pt x="29" y="85"/>
                    </a:lnTo>
                    <a:lnTo>
                      <a:pt x="28" y="84"/>
                    </a:lnTo>
                    <a:lnTo>
                      <a:pt x="28" y="84"/>
                    </a:lnTo>
                    <a:lnTo>
                      <a:pt x="27" y="84"/>
                    </a:lnTo>
                    <a:lnTo>
                      <a:pt x="26" y="83"/>
                    </a:lnTo>
                    <a:lnTo>
                      <a:pt x="26" y="83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5" y="82"/>
                    </a:lnTo>
                    <a:lnTo>
                      <a:pt x="25" y="82"/>
                    </a:lnTo>
                    <a:lnTo>
                      <a:pt x="24" y="82"/>
                    </a:lnTo>
                    <a:lnTo>
                      <a:pt x="23" y="81"/>
                    </a:lnTo>
                    <a:lnTo>
                      <a:pt x="23" y="81"/>
                    </a:lnTo>
                    <a:lnTo>
                      <a:pt x="23" y="81"/>
                    </a:lnTo>
                    <a:lnTo>
                      <a:pt x="22" y="80"/>
                    </a:lnTo>
                    <a:lnTo>
                      <a:pt x="22" y="80"/>
                    </a:lnTo>
                    <a:lnTo>
                      <a:pt x="21" y="79"/>
                    </a:lnTo>
                    <a:lnTo>
                      <a:pt x="21" y="78"/>
                    </a:lnTo>
                    <a:lnTo>
                      <a:pt x="20" y="78"/>
                    </a:lnTo>
                    <a:lnTo>
                      <a:pt x="20" y="78"/>
                    </a:lnTo>
                    <a:lnTo>
                      <a:pt x="20" y="77"/>
                    </a:lnTo>
                    <a:lnTo>
                      <a:pt x="19" y="77"/>
                    </a:lnTo>
                    <a:lnTo>
                      <a:pt x="19" y="77"/>
                    </a:lnTo>
                    <a:lnTo>
                      <a:pt x="18" y="77"/>
                    </a:lnTo>
                    <a:lnTo>
                      <a:pt x="18" y="76"/>
                    </a:lnTo>
                    <a:lnTo>
                      <a:pt x="18" y="76"/>
                    </a:lnTo>
                    <a:lnTo>
                      <a:pt x="18" y="76"/>
                    </a:lnTo>
                    <a:lnTo>
                      <a:pt x="18" y="75"/>
                    </a:lnTo>
                    <a:lnTo>
                      <a:pt x="17" y="75"/>
                    </a:lnTo>
                    <a:lnTo>
                      <a:pt x="17" y="75"/>
                    </a:lnTo>
                    <a:lnTo>
                      <a:pt x="17" y="75"/>
                    </a:lnTo>
                    <a:lnTo>
                      <a:pt x="16" y="75"/>
                    </a:lnTo>
                    <a:lnTo>
                      <a:pt x="16" y="75"/>
                    </a:lnTo>
                    <a:lnTo>
                      <a:pt x="15" y="75"/>
                    </a:lnTo>
                    <a:lnTo>
                      <a:pt x="14" y="74"/>
                    </a:lnTo>
                    <a:lnTo>
                      <a:pt x="14" y="74"/>
                    </a:lnTo>
                    <a:lnTo>
                      <a:pt x="13" y="73"/>
                    </a:lnTo>
                    <a:lnTo>
                      <a:pt x="12" y="72"/>
                    </a:lnTo>
                    <a:lnTo>
                      <a:pt x="11" y="71"/>
                    </a:lnTo>
                    <a:lnTo>
                      <a:pt x="10" y="70"/>
                    </a:lnTo>
                    <a:lnTo>
                      <a:pt x="10" y="69"/>
                    </a:lnTo>
                    <a:lnTo>
                      <a:pt x="9" y="69"/>
                    </a:lnTo>
                    <a:lnTo>
                      <a:pt x="9" y="69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7"/>
                    </a:lnTo>
                    <a:lnTo>
                      <a:pt x="8" y="67"/>
                    </a:lnTo>
                    <a:lnTo>
                      <a:pt x="7" y="67"/>
                    </a:lnTo>
                    <a:lnTo>
                      <a:pt x="7" y="67"/>
                    </a:lnTo>
                    <a:lnTo>
                      <a:pt x="7" y="67"/>
                    </a:lnTo>
                    <a:lnTo>
                      <a:pt x="6" y="67"/>
                    </a:lnTo>
                    <a:lnTo>
                      <a:pt x="6" y="67"/>
                    </a:lnTo>
                    <a:lnTo>
                      <a:pt x="5" y="66"/>
                    </a:lnTo>
                    <a:lnTo>
                      <a:pt x="5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5"/>
                    </a:lnTo>
                    <a:lnTo>
                      <a:pt x="3" y="64"/>
                    </a:lnTo>
                    <a:lnTo>
                      <a:pt x="2" y="63"/>
                    </a:lnTo>
                    <a:lnTo>
                      <a:pt x="2" y="63"/>
                    </a:lnTo>
                    <a:lnTo>
                      <a:pt x="2" y="63"/>
                    </a:lnTo>
                    <a:lnTo>
                      <a:pt x="1" y="62"/>
                    </a:lnTo>
                    <a:lnTo>
                      <a:pt x="1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1"/>
                    </a:lnTo>
                    <a:lnTo>
                      <a:pt x="0" y="61"/>
                    </a:lnTo>
                    <a:lnTo>
                      <a:pt x="0" y="61"/>
                    </a:lnTo>
                    <a:lnTo>
                      <a:pt x="0" y="60"/>
                    </a:lnTo>
                    <a:lnTo>
                      <a:pt x="0" y="59"/>
                    </a:lnTo>
                    <a:lnTo>
                      <a:pt x="1" y="58"/>
                    </a:lnTo>
                    <a:lnTo>
                      <a:pt x="1" y="56"/>
                    </a:lnTo>
                    <a:lnTo>
                      <a:pt x="2" y="55"/>
                    </a:lnTo>
                    <a:lnTo>
                      <a:pt x="2" y="54"/>
                    </a:lnTo>
                    <a:lnTo>
                      <a:pt x="3" y="53"/>
                    </a:lnTo>
                    <a:lnTo>
                      <a:pt x="4" y="52"/>
                    </a:lnTo>
                    <a:lnTo>
                      <a:pt x="5" y="51"/>
                    </a:lnTo>
                    <a:lnTo>
                      <a:pt x="6" y="51"/>
                    </a:lnTo>
                    <a:lnTo>
                      <a:pt x="7" y="50"/>
                    </a:lnTo>
                    <a:lnTo>
                      <a:pt x="8" y="49"/>
                    </a:lnTo>
                    <a:lnTo>
                      <a:pt x="9" y="49"/>
                    </a:lnTo>
                    <a:lnTo>
                      <a:pt x="10" y="48"/>
                    </a:lnTo>
                    <a:lnTo>
                      <a:pt x="12" y="47"/>
                    </a:lnTo>
                    <a:lnTo>
                      <a:pt x="13" y="47"/>
                    </a:lnTo>
                    <a:lnTo>
                      <a:pt x="15" y="47"/>
                    </a:lnTo>
                    <a:lnTo>
                      <a:pt x="15" y="46"/>
                    </a:lnTo>
                    <a:lnTo>
                      <a:pt x="16" y="44"/>
                    </a:lnTo>
                    <a:lnTo>
                      <a:pt x="16" y="43"/>
                    </a:lnTo>
                    <a:lnTo>
                      <a:pt x="17" y="42"/>
                    </a:lnTo>
                    <a:lnTo>
                      <a:pt x="18" y="41"/>
                    </a:lnTo>
                    <a:lnTo>
                      <a:pt x="19" y="41"/>
                    </a:lnTo>
                    <a:lnTo>
                      <a:pt x="20" y="39"/>
                    </a:lnTo>
                    <a:lnTo>
                      <a:pt x="22" y="37"/>
                    </a:lnTo>
                    <a:lnTo>
                      <a:pt x="24" y="35"/>
                    </a:lnTo>
                    <a:lnTo>
                      <a:pt x="26" y="34"/>
                    </a:lnTo>
                    <a:lnTo>
                      <a:pt x="28" y="32"/>
                    </a:lnTo>
                    <a:lnTo>
                      <a:pt x="30" y="31"/>
                    </a:lnTo>
                    <a:lnTo>
                      <a:pt x="32" y="29"/>
                    </a:lnTo>
                    <a:lnTo>
                      <a:pt x="33" y="28"/>
                    </a:lnTo>
                    <a:lnTo>
                      <a:pt x="35" y="26"/>
                    </a:lnTo>
                    <a:lnTo>
                      <a:pt x="37" y="25"/>
                    </a:lnTo>
                    <a:lnTo>
                      <a:pt x="39" y="23"/>
                    </a:lnTo>
                    <a:lnTo>
                      <a:pt x="39" y="22"/>
                    </a:lnTo>
                    <a:lnTo>
                      <a:pt x="40" y="21"/>
                    </a:lnTo>
                    <a:lnTo>
                      <a:pt x="41" y="20"/>
                    </a:lnTo>
                    <a:lnTo>
                      <a:pt x="41" y="19"/>
                    </a:lnTo>
                    <a:lnTo>
                      <a:pt x="42" y="18"/>
                    </a:lnTo>
                    <a:lnTo>
                      <a:pt x="43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5" y="19"/>
                    </a:lnTo>
                    <a:lnTo>
                      <a:pt x="45" y="19"/>
                    </a:lnTo>
                    <a:lnTo>
                      <a:pt x="46" y="19"/>
                    </a:lnTo>
                    <a:lnTo>
                      <a:pt x="47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9" y="20"/>
                    </a:lnTo>
                    <a:lnTo>
                      <a:pt x="50" y="20"/>
                    </a:lnTo>
                    <a:lnTo>
                      <a:pt x="50" y="20"/>
                    </a:lnTo>
                    <a:lnTo>
                      <a:pt x="51" y="20"/>
                    </a:lnTo>
                    <a:lnTo>
                      <a:pt x="52" y="19"/>
                    </a:lnTo>
                    <a:lnTo>
                      <a:pt x="53" y="18"/>
                    </a:lnTo>
                    <a:lnTo>
                      <a:pt x="54" y="17"/>
                    </a:lnTo>
                    <a:lnTo>
                      <a:pt x="55" y="15"/>
                    </a:lnTo>
                    <a:lnTo>
                      <a:pt x="55" y="14"/>
                    </a:lnTo>
                    <a:lnTo>
                      <a:pt x="56" y="12"/>
                    </a:lnTo>
                    <a:lnTo>
                      <a:pt x="57" y="9"/>
                    </a:lnTo>
                    <a:lnTo>
                      <a:pt x="58" y="8"/>
                    </a:lnTo>
                    <a:lnTo>
                      <a:pt x="58" y="7"/>
                    </a:lnTo>
                    <a:lnTo>
                      <a:pt x="59" y="5"/>
                    </a:lnTo>
                    <a:lnTo>
                      <a:pt x="60" y="4"/>
                    </a:lnTo>
                    <a:lnTo>
                      <a:pt x="61" y="3"/>
                    </a:lnTo>
                    <a:lnTo>
                      <a:pt x="62" y="2"/>
                    </a:lnTo>
                    <a:lnTo>
                      <a:pt x="63" y="1"/>
                    </a:lnTo>
                    <a:lnTo>
                      <a:pt x="64" y="1"/>
                    </a:lnTo>
                    <a:lnTo>
                      <a:pt x="65" y="0"/>
                    </a:lnTo>
                    <a:lnTo>
                      <a:pt x="66" y="1"/>
                    </a:lnTo>
                    <a:lnTo>
                      <a:pt x="68" y="1"/>
                    </a:lnTo>
                    <a:lnTo>
                      <a:pt x="69" y="1"/>
                    </a:lnTo>
                    <a:lnTo>
                      <a:pt x="70" y="1"/>
                    </a:lnTo>
                    <a:lnTo>
                      <a:pt x="71" y="2"/>
                    </a:lnTo>
                    <a:lnTo>
                      <a:pt x="73" y="3"/>
                    </a:lnTo>
                    <a:lnTo>
                      <a:pt x="74" y="3"/>
                    </a:lnTo>
                    <a:lnTo>
                      <a:pt x="75" y="4"/>
                    </a:lnTo>
                    <a:lnTo>
                      <a:pt x="76" y="5"/>
                    </a:lnTo>
                    <a:lnTo>
                      <a:pt x="76" y="5"/>
                    </a:lnTo>
                    <a:lnTo>
                      <a:pt x="77" y="6"/>
                    </a:lnTo>
                    <a:lnTo>
                      <a:pt x="78" y="7"/>
                    </a:lnTo>
                    <a:lnTo>
                      <a:pt x="80" y="9"/>
                    </a:lnTo>
                    <a:lnTo>
                      <a:pt x="81" y="11"/>
                    </a:lnTo>
                    <a:lnTo>
                      <a:pt x="82" y="13"/>
                    </a:lnTo>
                    <a:lnTo>
                      <a:pt x="84" y="15"/>
                    </a:lnTo>
                    <a:lnTo>
                      <a:pt x="85" y="17"/>
                    </a:lnTo>
                    <a:lnTo>
                      <a:pt x="87" y="19"/>
                    </a:lnTo>
                    <a:lnTo>
                      <a:pt x="87" y="20"/>
                    </a:lnTo>
                    <a:lnTo>
                      <a:pt x="88" y="21"/>
                    </a:lnTo>
                    <a:lnTo>
                      <a:pt x="89" y="22"/>
                    </a:lnTo>
                    <a:lnTo>
                      <a:pt x="90" y="23"/>
                    </a:lnTo>
                    <a:lnTo>
                      <a:pt x="91" y="23"/>
                    </a:lnTo>
                    <a:lnTo>
                      <a:pt x="92" y="24"/>
                    </a:lnTo>
                    <a:lnTo>
                      <a:pt x="93" y="25"/>
                    </a:lnTo>
                    <a:lnTo>
                      <a:pt x="95" y="25"/>
                    </a:lnTo>
                    <a:lnTo>
                      <a:pt x="95" y="25"/>
                    </a:lnTo>
                    <a:lnTo>
                      <a:pt x="96" y="25"/>
                    </a:lnTo>
                    <a:lnTo>
                      <a:pt x="97" y="25"/>
                    </a:lnTo>
                    <a:lnTo>
                      <a:pt x="98" y="25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defTabSz="914308">
                  <a:defRPr/>
                </a:pPr>
                <a:endParaRPr lang="en-US" sz="9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08" name="Freeform 12"/>
              <p:cNvSpPr>
                <a:spLocks/>
              </p:cNvSpPr>
              <p:nvPr/>
            </p:nvSpPr>
            <p:spPr bwMode="auto">
              <a:xfrm>
                <a:off x="355629" y="3876163"/>
                <a:ext cx="1068508" cy="1252736"/>
              </a:xfrm>
              <a:custGeom>
                <a:avLst/>
                <a:gdLst/>
                <a:ahLst/>
                <a:cxnLst>
                  <a:cxn ang="0">
                    <a:pos x="141" y="28"/>
                  </a:cxn>
                  <a:cxn ang="0">
                    <a:pos x="142" y="39"/>
                  </a:cxn>
                  <a:cxn ang="0">
                    <a:pos x="134" y="42"/>
                  </a:cxn>
                  <a:cxn ang="0">
                    <a:pos x="125" y="45"/>
                  </a:cxn>
                  <a:cxn ang="0">
                    <a:pos x="112" y="143"/>
                  </a:cxn>
                  <a:cxn ang="0">
                    <a:pos x="96" y="149"/>
                  </a:cxn>
                  <a:cxn ang="0">
                    <a:pos x="92" y="138"/>
                  </a:cxn>
                  <a:cxn ang="0">
                    <a:pos x="87" y="129"/>
                  </a:cxn>
                  <a:cxn ang="0">
                    <a:pos x="75" y="118"/>
                  </a:cxn>
                  <a:cxn ang="0">
                    <a:pos x="47" y="120"/>
                  </a:cxn>
                  <a:cxn ang="0">
                    <a:pos x="38" y="125"/>
                  </a:cxn>
                  <a:cxn ang="0">
                    <a:pos x="34" y="124"/>
                  </a:cxn>
                  <a:cxn ang="0">
                    <a:pos x="35" y="118"/>
                  </a:cxn>
                  <a:cxn ang="0">
                    <a:pos x="41" y="110"/>
                  </a:cxn>
                  <a:cxn ang="0">
                    <a:pos x="43" y="104"/>
                  </a:cxn>
                  <a:cxn ang="0">
                    <a:pos x="42" y="98"/>
                  </a:cxn>
                  <a:cxn ang="0">
                    <a:pos x="34" y="93"/>
                  </a:cxn>
                  <a:cxn ang="0">
                    <a:pos x="25" y="86"/>
                  </a:cxn>
                  <a:cxn ang="0">
                    <a:pos x="21" y="81"/>
                  </a:cxn>
                  <a:cxn ang="0">
                    <a:pos x="16" y="81"/>
                  </a:cxn>
                  <a:cxn ang="0">
                    <a:pos x="16" y="71"/>
                  </a:cxn>
                  <a:cxn ang="0">
                    <a:pos x="12" y="55"/>
                  </a:cxn>
                  <a:cxn ang="0">
                    <a:pos x="11" y="46"/>
                  </a:cxn>
                  <a:cxn ang="0">
                    <a:pos x="6" y="42"/>
                  </a:cxn>
                  <a:cxn ang="0">
                    <a:pos x="0" y="39"/>
                  </a:cxn>
                  <a:cxn ang="0">
                    <a:pos x="0" y="36"/>
                  </a:cxn>
                  <a:cxn ang="0">
                    <a:pos x="3" y="33"/>
                  </a:cxn>
                  <a:cxn ang="0">
                    <a:pos x="12" y="35"/>
                  </a:cxn>
                  <a:cxn ang="0">
                    <a:pos x="14" y="37"/>
                  </a:cxn>
                  <a:cxn ang="0">
                    <a:pos x="16" y="39"/>
                  </a:cxn>
                  <a:cxn ang="0">
                    <a:pos x="24" y="40"/>
                  </a:cxn>
                  <a:cxn ang="0">
                    <a:pos x="29" y="39"/>
                  </a:cxn>
                  <a:cxn ang="0">
                    <a:pos x="22" y="32"/>
                  </a:cxn>
                  <a:cxn ang="0">
                    <a:pos x="20" y="26"/>
                  </a:cxn>
                  <a:cxn ang="0">
                    <a:pos x="23" y="25"/>
                  </a:cxn>
                  <a:cxn ang="0">
                    <a:pos x="28" y="19"/>
                  </a:cxn>
                  <a:cxn ang="0">
                    <a:pos x="33" y="16"/>
                  </a:cxn>
                  <a:cxn ang="0">
                    <a:pos x="39" y="16"/>
                  </a:cxn>
                  <a:cxn ang="0">
                    <a:pos x="50" y="21"/>
                  </a:cxn>
                  <a:cxn ang="0">
                    <a:pos x="59" y="25"/>
                  </a:cxn>
                  <a:cxn ang="0">
                    <a:pos x="78" y="30"/>
                  </a:cxn>
                  <a:cxn ang="0">
                    <a:pos x="85" y="32"/>
                  </a:cxn>
                  <a:cxn ang="0">
                    <a:pos x="80" y="34"/>
                  </a:cxn>
                  <a:cxn ang="0">
                    <a:pos x="80" y="37"/>
                  </a:cxn>
                  <a:cxn ang="0">
                    <a:pos x="86" y="39"/>
                  </a:cxn>
                  <a:cxn ang="0">
                    <a:pos x="93" y="38"/>
                  </a:cxn>
                  <a:cxn ang="0">
                    <a:pos x="92" y="30"/>
                  </a:cxn>
                  <a:cxn ang="0">
                    <a:pos x="91" y="22"/>
                  </a:cxn>
                  <a:cxn ang="0">
                    <a:pos x="88" y="20"/>
                  </a:cxn>
                  <a:cxn ang="0">
                    <a:pos x="84" y="21"/>
                  </a:cxn>
                  <a:cxn ang="0">
                    <a:pos x="80" y="23"/>
                  </a:cxn>
                  <a:cxn ang="0">
                    <a:pos x="75" y="23"/>
                  </a:cxn>
                  <a:cxn ang="0">
                    <a:pos x="70" y="19"/>
                  </a:cxn>
                  <a:cxn ang="0">
                    <a:pos x="68" y="12"/>
                  </a:cxn>
                  <a:cxn ang="0">
                    <a:pos x="72" y="6"/>
                  </a:cxn>
                  <a:cxn ang="0">
                    <a:pos x="83" y="3"/>
                  </a:cxn>
                  <a:cxn ang="0">
                    <a:pos x="94" y="2"/>
                  </a:cxn>
                  <a:cxn ang="0">
                    <a:pos x="106" y="2"/>
                  </a:cxn>
                  <a:cxn ang="0">
                    <a:pos x="116" y="4"/>
                  </a:cxn>
                  <a:cxn ang="0">
                    <a:pos x="118" y="0"/>
                  </a:cxn>
                  <a:cxn ang="0">
                    <a:pos x="125" y="6"/>
                  </a:cxn>
                  <a:cxn ang="0">
                    <a:pos x="134" y="13"/>
                  </a:cxn>
                </a:cxnLst>
                <a:rect l="0" t="0" r="r" b="b"/>
                <a:pathLst>
                  <a:path w="143" h="156">
                    <a:moveTo>
                      <a:pt x="141" y="15"/>
                    </a:moveTo>
                    <a:lnTo>
                      <a:pt x="141" y="16"/>
                    </a:lnTo>
                    <a:lnTo>
                      <a:pt x="141" y="18"/>
                    </a:lnTo>
                    <a:lnTo>
                      <a:pt x="141" y="20"/>
                    </a:lnTo>
                    <a:lnTo>
                      <a:pt x="141" y="21"/>
                    </a:lnTo>
                    <a:lnTo>
                      <a:pt x="141" y="25"/>
                    </a:lnTo>
                    <a:lnTo>
                      <a:pt x="141" y="28"/>
                    </a:lnTo>
                    <a:lnTo>
                      <a:pt x="141" y="30"/>
                    </a:lnTo>
                    <a:lnTo>
                      <a:pt x="141" y="32"/>
                    </a:lnTo>
                    <a:lnTo>
                      <a:pt x="141" y="33"/>
                    </a:lnTo>
                    <a:lnTo>
                      <a:pt x="141" y="35"/>
                    </a:lnTo>
                    <a:lnTo>
                      <a:pt x="142" y="36"/>
                    </a:lnTo>
                    <a:lnTo>
                      <a:pt x="142" y="38"/>
                    </a:lnTo>
                    <a:lnTo>
                      <a:pt x="142" y="39"/>
                    </a:lnTo>
                    <a:lnTo>
                      <a:pt x="143" y="40"/>
                    </a:lnTo>
                    <a:lnTo>
                      <a:pt x="142" y="40"/>
                    </a:lnTo>
                    <a:lnTo>
                      <a:pt x="141" y="41"/>
                    </a:lnTo>
                    <a:lnTo>
                      <a:pt x="140" y="41"/>
                    </a:lnTo>
                    <a:lnTo>
                      <a:pt x="139" y="41"/>
                    </a:lnTo>
                    <a:lnTo>
                      <a:pt x="136" y="42"/>
                    </a:lnTo>
                    <a:lnTo>
                      <a:pt x="134" y="42"/>
                    </a:lnTo>
                    <a:lnTo>
                      <a:pt x="131" y="43"/>
                    </a:lnTo>
                    <a:lnTo>
                      <a:pt x="130" y="43"/>
                    </a:lnTo>
                    <a:lnTo>
                      <a:pt x="129" y="43"/>
                    </a:lnTo>
                    <a:lnTo>
                      <a:pt x="127" y="43"/>
                    </a:lnTo>
                    <a:lnTo>
                      <a:pt x="126" y="44"/>
                    </a:lnTo>
                    <a:lnTo>
                      <a:pt x="125" y="44"/>
                    </a:lnTo>
                    <a:lnTo>
                      <a:pt x="125" y="45"/>
                    </a:lnTo>
                    <a:lnTo>
                      <a:pt x="123" y="59"/>
                    </a:lnTo>
                    <a:lnTo>
                      <a:pt x="121" y="73"/>
                    </a:lnTo>
                    <a:lnTo>
                      <a:pt x="120" y="87"/>
                    </a:lnTo>
                    <a:lnTo>
                      <a:pt x="118" y="101"/>
                    </a:lnTo>
                    <a:lnTo>
                      <a:pt x="116" y="115"/>
                    </a:lnTo>
                    <a:lnTo>
                      <a:pt x="114" y="129"/>
                    </a:lnTo>
                    <a:lnTo>
                      <a:pt x="112" y="143"/>
                    </a:lnTo>
                    <a:lnTo>
                      <a:pt x="110" y="156"/>
                    </a:lnTo>
                    <a:lnTo>
                      <a:pt x="100" y="156"/>
                    </a:lnTo>
                    <a:lnTo>
                      <a:pt x="99" y="155"/>
                    </a:lnTo>
                    <a:lnTo>
                      <a:pt x="99" y="154"/>
                    </a:lnTo>
                    <a:lnTo>
                      <a:pt x="98" y="152"/>
                    </a:lnTo>
                    <a:lnTo>
                      <a:pt x="97" y="151"/>
                    </a:lnTo>
                    <a:lnTo>
                      <a:pt x="96" y="149"/>
                    </a:lnTo>
                    <a:lnTo>
                      <a:pt x="94" y="146"/>
                    </a:lnTo>
                    <a:lnTo>
                      <a:pt x="94" y="145"/>
                    </a:lnTo>
                    <a:lnTo>
                      <a:pt x="93" y="144"/>
                    </a:lnTo>
                    <a:lnTo>
                      <a:pt x="93" y="143"/>
                    </a:lnTo>
                    <a:lnTo>
                      <a:pt x="92" y="141"/>
                    </a:lnTo>
                    <a:lnTo>
                      <a:pt x="92" y="140"/>
                    </a:lnTo>
                    <a:lnTo>
                      <a:pt x="92" y="138"/>
                    </a:lnTo>
                    <a:lnTo>
                      <a:pt x="91" y="136"/>
                    </a:lnTo>
                    <a:lnTo>
                      <a:pt x="91" y="135"/>
                    </a:lnTo>
                    <a:lnTo>
                      <a:pt x="90" y="133"/>
                    </a:lnTo>
                    <a:lnTo>
                      <a:pt x="90" y="132"/>
                    </a:lnTo>
                    <a:lnTo>
                      <a:pt x="89" y="131"/>
                    </a:lnTo>
                    <a:lnTo>
                      <a:pt x="88" y="130"/>
                    </a:lnTo>
                    <a:lnTo>
                      <a:pt x="87" y="129"/>
                    </a:lnTo>
                    <a:lnTo>
                      <a:pt x="86" y="128"/>
                    </a:lnTo>
                    <a:lnTo>
                      <a:pt x="84" y="126"/>
                    </a:lnTo>
                    <a:lnTo>
                      <a:pt x="81" y="124"/>
                    </a:lnTo>
                    <a:lnTo>
                      <a:pt x="79" y="122"/>
                    </a:lnTo>
                    <a:lnTo>
                      <a:pt x="77" y="120"/>
                    </a:lnTo>
                    <a:lnTo>
                      <a:pt x="76" y="119"/>
                    </a:lnTo>
                    <a:lnTo>
                      <a:pt x="75" y="118"/>
                    </a:lnTo>
                    <a:lnTo>
                      <a:pt x="69" y="118"/>
                    </a:lnTo>
                    <a:lnTo>
                      <a:pt x="63" y="118"/>
                    </a:lnTo>
                    <a:lnTo>
                      <a:pt x="57" y="118"/>
                    </a:lnTo>
                    <a:lnTo>
                      <a:pt x="51" y="118"/>
                    </a:lnTo>
                    <a:lnTo>
                      <a:pt x="50" y="119"/>
                    </a:lnTo>
                    <a:lnTo>
                      <a:pt x="49" y="119"/>
                    </a:lnTo>
                    <a:lnTo>
                      <a:pt x="47" y="120"/>
                    </a:lnTo>
                    <a:lnTo>
                      <a:pt x="45" y="121"/>
                    </a:lnTo>
                    <a:lnTo>
                      <a:pt x="43" y="122"/>
                    </a:lnTo>
                    <a:lnTo>
                      <a:pt x="42" y="123"/>
                    </a:lnTo>
                    <a:lnTo>
                      <a:pt x="41" y="123"/>
                    </a:lnTo>
                    <a:lnTo>
                      <a:pt x="40" y="124"/>
                    </a:lnTo>
                    <a:lnTo>
                      <a:pt x="39" y="124"/>
                    </a:lnTo>
                    <a:lnTo>
                      <a:pt x="38" y="125"/>
                    </a:lnTo>
                    <a:lnTo>
                      <a:pt x="37" y="126"/>
                    </a:lnTo>
                    <a:lnTo>
                      <a:pt x="37" y="127"/>
                    </a:lnTo>
                    <a:lnTo>
                      <a:pt x="36" y="128"/>
                    </a:lnTo>
                    <a:lnTo>
                      <a:pt x="36" y="127"/>
                    </a:lnTo>
                    <a:lnTo>
                      <a:pt x="35" y="126"/>
                    </a:lnTo>
                    <a:lnTo>
                      <a:pt x="35" y="125"/>
                    </a:lnTo>
                    <a:lnTo>
                      <a:pt x="34" y="124"/>
                    </a:lnTo>
                    <a:lnTo>
                      <a:pt x="34" y="123"/>
                    </a:lnTo>
                    <a:lnTo>
                      <a:pt x="34" y="122"/>
                    </a:lnTo>
                    <a:lnTo>
                      <a:pt x="34" y="121"/>
                    </a:lnTo>
                    <a:lnTo>
                      <a:pt x="34" y="120"/>
                    </a:lnTo>
                    <a:lnTo>
                      <a:pt x="35" y="120"/>
                    </a:lnTo>
                    <a:lnTo>
                      <a:pt x="35" y="119"/>
                    </a:lnTo>
                    <a:lnTo>
                      <a:pt x="35" y="118"/>
                    </a:lnTo>
                    <a:lnTo>
                      <a:pt x="36" y="117"/>
                    </a:lnTo>
                    <a:lnTo>
                      <a:pt x="36" y="117"/>
                    </a:lnTo>
                    <a:lnTo>
                      <a:pt x="36" y="116"/>
                    </a:lnTo>
                    <a:lnTo>
                      <a:pt x="37" y="114"/>
                    </a:lnTo>
                    <a:lnTo>
                      <a:pt x="38" y="113"/>
                    </a:lnTo>
                    <a:lnTo>
                      <a:pt x="40" y="112"/>
                    </a:lnTo>
                    <a:lnTo>
                      <a:pt x="41" y="110"/>
                    </a:lnTo>
                    <a:lnTo>
                      <a:pt x="41" y="110"/>
                    </a:lnTo>
                    <a:lnTo>
                      <a:pt x="42" y="109"/>
                    </a:lnTo>
                    <a:lnTo>
                      <a:pt x="42" y="108"/>
                    </a:lnTo>
                    <a:lnTo>
                      <a:pt x="42" y="107"/>
                    </a:lnTo>
                    <a:lnTo>
                      <a:pt x="43" y="106"/>
                    </a:lnTo>
                    <a:lnTo>
                      <a:pt x="43" y="105"/>
                    </a:lnTo>
                    <a:lnTo>
                      <a:pt x="43" y="104"/>
                    </a:lnTo>
                    <a:lnTo>
                      <a:pt x="43" y="104"/>
                    </a:lnTo>
                    <a:lnTo>
                      <a:pt x="43" y="102"/>
                    </a:lnTo>
                    <a:lnTo>
                      <a:pt x="43" y="101"/>
                    </a:lnTo>
                    <a:lnTo>
                      <a:pt x="43" y="101"/>
                    </a:lnTo>
                    <a:lnTo>
                      <a:pt x="43" y="100"/>
                    </a:lnTo>
                    <a:lnTo>
                      <a:pt x="42" y="99"/>
                    </a:lnTo>
                    <a:lnTo>
                      <a:pt x="42" y="98"/>
                    </a:lnTo>
                    <a:lnTo>
                      <a:pt x="41" y="97"/>
                    </a:lnTo>
                    <a:lnTo>
                      <a:pt x="40" y="96"/>
                    </a:lnTo>
                    <a:lnTo>
                      <a:pt x="39" y="95"/>
                    </a:lnTo>
                    <a:lnTo>
                      <a:pt x="38" y="95"/>
                    </a:lnTo>
                    <a:lnTo>
                      <a:pt x="37" y="94"/>
                    </a:lnTo>
                    <a:lnTo>
                      <a:pt x="36" y="94"/>
                    </a:lnTo>
                    <a:lnTo>
                      <a:pt x="34" y="93"/>
                    </a:lnTo>
                    <a:lnTo>
                      <a:pt x="33" y="93"/>
                    </a:lnTo>
                    <a:lnTo>
                      <a:pt x="32" y="93"/>
                    </a:lnTo>
                    <a:lnTo>
                      <a:pt x="29" y="92"/>
                    </a:lnTo>
                    <a:lnTo>
                      <a:pt x="26" y="91"/>
                    </a:lnTo>
                    <a:lnTo>
                      <a:pt x="26" y="89"/>
                    </a:lnTo>
                    <a:lnTo>
                      <a:pt x="25" y="87"/>
                    </a:lnTo>
                    <a:lnTo>
                      <a:pt x="25" y="86"/>
                    </a:lnTo>
                    <a:lnTo>
                      <a:pt x="25" y="85"/>
                    </a:lnTo>
                    <a:lnTo>
                      <a:pt x="25" y="84"/>
                    </a:lnTo>
                    <a:lnTo>
                      <a:pt x="24" y="84"/>
                    </a:lnTo>
                    <a:lnTo>
                      <a:pt x="24" y="83"/>
                    </a:lnTo>
                    <a:lnTo>
                      <a:pt x="23" y="82"/>
                    </a:lnTo>
                    <a:lnTo>
                      <a:pt x="22" y="82"/>
                    </a:lnTo>
                    <a:lnTo>
                      <a:pt x="21" y="81"/>
                    </a:lnTo>
                    <a:lnTo>
                      <a:pt x="20" y="81"/>
                    </a:lnTo>
                    <a:lnTo>
                      <a:pt x="20" y="81"/>
                    </a:lnTo>
                    <a:lnTo>
                      <a:pt x="19" y="81"/>
                    </a:lnTo>
                    <a:lnTo>
                      <a:pt x="19" y="81"/>
                    </a:lnTo>
                    <a:lnTo>
                      <a:pt x="18" y="81"/>
                    </a:lnTo>
                    <a:lnTo>
                      <a:pt x="17" y="81"/>
                    </a:lnTo>
                    <a:lnTo>
                      <a:pt x="16" y="81"/>
                    </a:lnTo>
                    <a:lnTo>
                      <a:pt x="16" y="80"/>
                    </a:lnTo>
                    <a:lnTo>
                      <a:pt x="17" y="79"/>
                    </a:lnTo>
                    <a:lnTo>
                      <a:pt x="17" y="77"/>
                    </a:lnTo>
                    <a:lnTo>
                      <a:pt x="17" y="76"/>
                    </a:lnTo>
                    <a:lnTo>
                      <a:pt x="17" y="75"/>
                    </a:lnTo>
                    <a:lnTo>
                      <a:pt x="17" y="74"/>
                    </a:lnTo>
                    <a:lnTo>
                      <a:pt x="16" y="71"/>
                    </a:lnTo>
                    <a:lnTo>
                      <a:pt x="16" y="69"/>
                    </a:lnTo>
                    <a:lnTo>
                      <a:pt x="15" y="67"/>
                    </a:lnTo>
                    <a:lnTo>
                      <a:pt x="15" y="65"/>
                    </a:lnTo>
                    <a:lnTo>
                      <a:pt x="14" y="63"/>
                    </a:lnTo>
                    <a:lnTo>
                      <a:pt x="13" y="60"/>
                    </a:lnTo>
                    <a:lnTo>
                      <a:pt x="13" y="58"/>
                    </a:lnTo>
                    <a:lnTo>
                      <a:pt x="12" y="55"/>
                    </a:lnTo>
                    <a:lnTo>
                      <a:pt x="12" y="53"/>
                    </a:lnTo>
                    <a:lnTo>
                      <a:pt x="11" y="51"/>
                    </a:lnTo>
                    <a:lnTo>
                      <a:pt x="11" y="49"/>
                    </a:lnTo>
                    <a:lnTo>
                      <a:pt x="11" y="48"/>
                    </a:lnTo>
                    <a:lnTo>
                      <a:pt x="11" y="47"/>
                    </a:lnTo>
                    <a:lnTo>
                      <a:pt x="11" y="46"/>
                    </a:lnTo>
                    <a:lnTo>
                      <a:pt x="11" y="46"/>
                    </a:lnTo>
                    <a:lnTo>
                      <a:pt x="11" y="45"/>
                    </a:lnTo>
                    <a:lnTo>
                      <a:pt x="10" y="45"/>
                    </a:lnTo>
                    <a:lnTo>
                      <a:pt x="10" y="44"/>
                    </a:lnTo>
                    <a:lnTo>
                      <a:pt x="9" y="43"/>
                    </a:lnTo>
                    <a:lnTo>
                      <a:pt x="8" y="43"/>
                    </a:lnTo>
                    <a:lnTo>
                      <a:pt x="7" y="42"/>
                    </a:lnTo>
                    <a:lnTo>
                      <a:pt x="6" y="42"/>
                    </a:lnTo>
                    <a:lnTo>
                      <a:pt x="5" y="42"/>
                    </a:lnTo>
                    <a:lnTo>
                      <a:pt x="4" y="41"/>
                    </a:lnTo>
                    <a:lnTo>
                      <a:pt x="3" y="41"/>
                    </a:lnTo>
                    <a:lnTo>
                      <a:pt x="2" y="41"/>
                    </a:lnTo>
                    <a:lnTo>
                      <a:pt x="1" y="40"/>
                    </a:lnTo>
                    <a:lnTo>
                      <a:pt x="1" y="39"/>
                    </a:lnTo>
                    <a:lnTo>
                      <a:pt x="0" y="39"/>
                    </a:lnTo>
                    <a:lnTo>
                      <a:pt x="0" y="39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7"/>
                    </a:lnTo>
                    <a:lnTo>
                      <a:pt x="0" y="37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5"/>
                    </a:lnTo>
                    <a:lnTo>
                      <a:pt x="1" y="35"/>
                    </a:lnTo>
                    <a:lnTo>
                      <a:pt x="1" y="34"/>
                    </a:lnTo>
                    <a:lnTo>
                      <a:pt x="1" y="34"/>
                    </a:lnTo>
                    <a:lnTo>
                      <a:pt x="2" y="34"/>
                    </a:lnTo>
                    <a:lnTo>
                      <a:pt x="3" y="34"/>
                    </a:lnTo>
                    <a:lnTo>
                      <a:pt x="3" y="33"/>
                    </a:lnTo>
                    <a:lnTo>
                      <a:pt x="4" y="33"/>
                    </a:lnTo>
                    <a:lnTo>
                      <a:pt x="5" y="33"/>
                    </a:lnTo>
                    <a:lnTo>
                      <a:pt x="6" y="34"/>
                    </a:lnTo>
                    <a:lnTo>
                      <a:pt x="7" y="34"/>
                    </a:lnTo>
                    <a:lnTo>
                      <a:pt x="9" y="34"/>
                    </a:lnTo>
                    <a:lnTo>
                      <a:pt x="11" y="35"/>
                    </a:lnTo>
                    <a:lnTo>
                      <a:pt x="12" y="35"/>
                    </a:lnTo>
                    <a:lnTo>
                      <a:pt x="13" y="35"/>
                    </a:lnTo>
                    <a:lnTo>
                      <a:pt x="13" y="35"/>
                    </a:lnTo>
                    <a:lnTo>
                      <a:pt x="13" y="36"/>
                    </a:lnTo>
                    <a:lnTo>
                      <a:pt x="13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7"/>
                    </a:lnTo>
                    <a:lnTo>
                      <a:pt x="15" y="37"/>
                    </a:lnTo>
                    <a:lnTo>
                      <a:pt x="16" y="37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9"/>
                    </a:lnTo>
                    <a:lnTo>
                      <a:pt x="16" y="39"/>
                    </a:lnTo>
                    <a:lnTo>
                      <a:pt x="16" y="40"/>
                    </a:lnTo>
                    <a:lnTo>
                      <a:pt x="17" y="40"/>
                    </a:lnTo>
                    <a:lnTo>
                      <a:pt x="18" y="40"/>
                    </a:lnTo>
                    <a:lnTo>
                      <a:pt x="19" y="40"/>
                    </a:lnTo>
                    <a:lnTo>
                      <a:pt x="20" y="40"/>
                    </a:lnTo>
                    <a:lnTo>
                      <a:pt x="22" y="40"/>
                    </a:lnTo>
                    <a:lnTo>
                      <a:pt x="24" y="40"/>
                    </a:lnTo>
                    <a:lnTo>
                      <a:pt x="25" y="40"/>
                    </a:lnTo>
                    <a:lnTo>
                      <a:pt x="27" y="41"/>
                    </a:lnTo>
                    <a:lnTo>
                      <a:pt x="28" y="41"/>
                    </a:lnTo>
                    <a:lnTo>
                      <a:pt x="30" y="41"/>
                    </a:lnTo>
                    <a:lnTo>
                      <a:pt x="30" y="41"/>
                    </a:lnTo>
                    <a:lnTo>
                      <a:pt x="29" y="40"/>
                    </a:lnTo>
                    <a:lnTo>
                      <a:pt x="29" y="39"/>
                    </a:lnTo>
                    <a:lnTo>
                      <a:pt x="28" y="38"/>
                    </a:lnTo>
                    <a:lnTo>
                      <a:pt x="27" y="37"/>
                    </a:lnTo>
                    <a:lnTo>
                      <a:pt x="27" y="36"/>
                    </a:lnTo>
                    <a:lnTo>
                      <a:pt x="26" y="35"/>
                    </a:lnTo>
                    <a:lnTo>
                      <a:pt x="24" y="34"/>
                    </a:lnTo>
                    <a:lnTo>
                      <a:pt x="23" y="33"/>
                    </a:lnTo>
                    <a:lnTo>
                      <a:pt x="22" y="32"/>
                    </a:lnTo>
                    <a:lnTo>
                      <a:pt x="22" y="31"/>
                    </a:lnTo>
                    <a:lnTo>
                      <a:pt x="21" y="30"/>
                    </a:lnTo>
                    <a:lnTo>
                      <a:pt x="20" y="29"/>
                    </a:lnTo>
                    <a:lnTo>
                      <a:pt x="20" y="28"/>
                    </a:lnTo>
                    <a:lnTo>
                      <a:pt x="20" y="27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5"/>
                    </a:lnTo>
                    <a:lnTo>
                      <a:pt x="20" y="25"/>
                    </a:lnTo>
                    <a:lnTo>
                      <a:pt x="21" y="25"/>
                    </a:lnTo>
                    <a:lnTo>
                      <a:pt x="22" y="25"/>
                    </a:lnTo>
                    <a:lnTo>
                      <a:pt x="22" y="25"/>
                    </a:lnTo>
                    <a:lnTo>
                      <a:pt x="23" y="25"/>
                    </a:lnTo>
                    <a:lnTo>
                      <a:pt x="23" y="25"/>
                    </a:lnTo>
                    <a:lnTo>
                      <a:pt x="24" y="25"/>
                    </a:lnTo>
                    <a:lnTo>
                      <a:pt x="25" y="24"/>
                    </a:lnTo>
                    <a:lnTo>
                      <a:pt x="26" y="23"/>
                    </a:lnTo>
                    <a:lnTo>
                      <a:pt x="26" y="23"/>
                    </a:lnTo>
                    <a:lnTo>
                      <a:pt x="27" y="22"/>
                    </a:lnTo>
                    <a:lnTo>
                      <a:pt x="28" y="20"/>
                    </a:lnTo>
                    <a:lnTo>
                      <a:pt x="28" y="19"/>
                    </a:lnTo>
                    <a:lnTo>
                      <a:pt x="29" y="19"/>
                    </a:lnTo>
                    <a:lnTo>
                      <a:pt x="29" y="18"/>
                    </a:lnTo>
                    <a:lnTo>
                      <a:pt x="30" y="17"/>
                    </a:lnTo>
                    <a:lnTo>
                      <a:pt x="30" y="17"/>
                    </a:lnTo>
                    <a:lnTo>
                      <a:pt x="31" y="17"/>
                    </a:lnTo>
                    <a:lnTo>
                      <a:pt x="32" y="16"/>
                    </a:lnTo>
                    <a:lnTo>
                      <a:pt x="33" y="16"/>
                    </a:lnTo>
                    <a:lnTo>
                      <a:pt x="34" y="16"/>
                    </a:lnTo>
                    <a:lnTo>
                      <a:pt x="35" y="16"/>
                    </a:lnTo>
                    <a:lnTo>
                      <a:pt x="35" y="16"/>
                    </a:lnTo>
                    <a:lnTo>
                      <a:pt x="36" y="15"/>
                    </a:lnTo>
                    <a:lnTo>
                      <a:pt x="37" y="15"/>
                    </a:lnTo>
                    <a:lnTo>
                      <a:pt x="38" y="16"/>
                    </a:lnTo>
                    <a:lnTo>
                      <a:pt x="39" y="16"/>
                    </a:lnTo>
                    <a:lnTo>
                      <a:pt x="41" y="16"/>
                    </a:lnTo>
                    <a:lnTo>
                      <a:pt x="42" y="17"/>
                    </a:lnTo>
                    <a:lnTo>
                      <a:pt x="43" y="17"/>
                    </a:lnTo>
                    <a:lnTo>
                      <a:pt x="45" y="18"/>
                    </a:lnTo>
                    <a:lnTo>
                      <a:pt x="46" y="19"/>
                    </a:lnTo>
                    <a:lnTo>
                      <a:pt x="49" y="20"/>
                    </a:lnTo>
                    <a:lnTo>
                      <a:pt x="50" y="21"/>
                    </a:lnTo>
                    <a:lnTo>
                      <a:pt x="52" y="22"/>
                    </a:lnTo>
                    <a:lnTo>
                      <a:pt x="53" y="23"/>
                    </a:lnTo>
                    <a:lnTo>
                      <a:pt x="55" y="23"/>
                    </a:lnTo>
                    <a:lnTo>
                      <a:pt x="56" y="24"/>
                    </a:lnTo>
                    <a:lnTo>
                      <a:pt x="57" y="24"/>
                    </a:lnTo>
                    <a:lnTo>
                      <a:pt x="58" y="24"/>
                    </a:lnTo>
                    <a:lnTo>
                      <a:pt x="59" y="25"/>
                    </a:lnTo>
                    <a:lnTo>
                      <a:pt x="62" y="26"/>
                    </a:lnTo>
                    <a:lnTo>
                      <a:pt x="65" y="27"/>
                    </a:lnTo>
                    <a:lnTo>
                      <a:pt x="67" y="27"/>
                    </a:lnTo>
                    <a:lnTo>
                      <a:pt x="70" y="28"/>
                    </a:lnTo>
                    <a:lnTo>
                      <a:pt x="73" y="29"/>
                    </a:lnTo>
                    <a:lnTo>
                      <a:pt x="75" y="29"/>
                    </a:lnTo>
                    <a:lnTo>
                      <a:pt x="78" y="30"/>
                    </a:lnTo>
                    <a:lnTo>
                      <a:pt x="81" y="30"/>
                    </a:lnTo>
                    <a:lnTo>
                      <a:pt x="83" y="30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1"/>
                    </a:lnTo>
                    <a:lnTo>
                      <a:pt x="85" y="31"/>
                    </a:lnTo>
                    <a:lnTo>
                      <a:pt x="85" y="32"/>
                    </a:lnTo>
                    <a:lnTo>
                      <a:pt x="84" y="32"/>
                    </a:lnTo>
                    <a:lnTo>
                      <a:pt x="84" y="32"/>
                    </a:lnTo>
                    <a:lnTo>
                      <a:pt x="82" y="32"/>
                    </a:lnTo>
                    <a:lnTo>
                      <a:pt x="82" y="32"/>
                    </a:lnTo>
                    <a:lnTo>
                      <a:pt x="81" y="33"/>
                    </a:lnTo>
                    <a:lnTo>
                      <a:pt x="80" y="33"/>
                    </a:lnTo>
                    <a:lnTo>
                      <a:pt x="80" y="34"/>
                    </a:lnTo>
                    <a:lnTo>
                      <a:pt x="80" y="34"/>
                    </a:lnTo>
                    <a:lnTo>
                      <a:pt x="79" y="35"/>
                    </a:lnTo>
                    <a:lnTo>
                      <a:pt x="79" y="35"/>
                    </a:lnTo>
                    <a:lnTo>
                      <a:pt x="79" y="36"/>
                    </a:lnTo>
                    <a:lnTo>
                      <a:pt x="79" y="36"/>
                    </a:lnTo>
                    <a:lnTo>
                      <a:pt x="80" y="37"/>
                    </a:lnTo>
                    <a:lnTo>
                      <a:pt x="80" y="37"/>
                    </a:lnTo>
                    <a:lnTo>
                      <a:pt x="81" y="38"/>
                    </a:lnTo>
                    <a:lnTo>
                      <a:pt x="82" y="38"/>
                    </a:lnTo>
                    <a:lnTo>
                      <a:pt x="82" y="39"/>
                    </a:lnTo>
                    <a:lnTo>
                      <a:pt x="83" y="39"/>
                    </a:lnTo>
                    <a:lnTo>
                      <a:pt x="84" y="39"/>
                    </a:lnTo>
                    <a:lnTo>
                      <a:pt x="85" y="39"/>
                    </a:lnTo>
                    <a:lnTo>
                      <a:pt x="86" y="39"/>
                    </a:lnTo>
                    <a:lnTo>
                      <a:pt x="87" y="39"/>
                    </a:lnTo>
                    <a:lnTo>
                      <a:pt x="88" y="39"/>
                    </a:lnTo>
                    <a:lnTo>
                      <a:pt x="90" y="39"/>
                    </a:lnTo>
                    <a:lnTo>
                      <a:pt x="91" y="39"/>
                    </a:lnTo>
                    <a:lnTo>
                      <a:pt x="91" y="38"/>
                    </a:lnTo>
                    <a:lnTo>
                      <a:pt x="92" y="38"/>
                    </a:lnTo>
                    <a:lnTo>
                      <a:pt x="93" y="38"/>
                    </a:lnTo>
                    <a:lnTo>
                      <a:pt x="93" y="37"/>
                    </a:lnTo>
                    <a:lnTo>
                      <a:pt x="92" y="37"/>
                    </a:lnTo>
                    <a:lnTo>
                      <a:pt x="92" y="35"/>
                    </a:lnTo>
                    <a:lnTo>
                      <a:pt x="92" y="34"/>
                    </a:lnTo>
                    <a:lnTo>
                      <a:pt x="92" y="33"/>
                    </a:lnTo>
                    <a:lnTo>
                      <a:pt x="92" y="31"/>
                    </a:lnTo>
                    <a:lnTo>
                      <a:pt x="92" y="30"/>
                    </a:lnTo>
                    <a:lnTo>
                      <a:pt x="92" y="29"/>
                    </a:lnTo>
                    <a:lnTo>
                      <a:pt x="92" y="28"/>
                    </a:lnTo>
                    <a:lnTo>
                      <a:pt x="92" y="26"/>
                    </a:lnTo>
                    <a:lnTo>
                      <a:pt x="92" y="25"/>
                    </a:lnTo>
                    <a:lnTo>
                      <a:pt x="92" y="24"/>
                    </a:lnTo>
                    <a:lnTo>
                      <a:pt x="92" y="23"/>
                    </a:lnTo>
                    <a:lnTo>
                      <a:pt x="91" y="22"/>
                    </a:lnTo>
                    <a:lnTo>
                      <a:pt x="91" y="21"/>
                    </a:lnTo>
                    <a:lnTo>
                      <a:pt x="91" y="21"/>
                    </a:lnTo>
                    <a:lnTo>
                      <a:pt x="90" y="21"/>
                    </a:lnTo>
                    <a:lnTo>
                      <a:pt x="90" y="20"/>
                    </a:lnTo>
                    <a:lnTo>
                      <a:pt x="90" y="20"/>
                    </a:lnTo>
                    <a:lnTo>
                      <a:pt x="89" y="20"/>
                    </a:lnTo>
                    <a:lnTo>
                      <a:pt x="88" y="20"/>
                    </a:lnTo>
                    <a:lnTo>
                      <a:pt x="88" y="20"/>
                    </a:lnTo>
                    <a:lnTo>
                      <a:pt x="87" y="20"/>
                    </a:lnTo>
                    <a:lnTo>
                      <a:pt x="87" y="20"/>
                    </a:lnTo>
                    <a:lnTo>
                      <a:pt x="86" y="20"/>
                    </a:lnTo>
                    <a:lnTo>
                      <a:pt x="85" y="20"/>
                    </a:lnTo>
                    <a:lnTo>
                      <a:pt x="85" y="21"/>
                    </a:lnTo>
                    <a:lnTo>
                      <a:pt x="84" y="21"/>
                    </a:lnTo>
                    <a:lnTo>
                      <a:pt x="84" y="22"/>
                    </a:lnTo>
                    <a:lnTo>
                      <a:pt x="83" y="22"/>
                    </a:lnTo>
                    <a:lnTo>
                      <a:pt x="83" y="22"/>
                    </a:lnTo>
                    <a:lnTo>
                      <a:pt x="82" y="23"/>
                    </a:lnTo>
                    <a:lnTo>
                      <a:pt x="82" y="23"/>
                    </a:lnTo>
                    <a:lnTo>
                      <a:pt x="81" y="23"/>
                    </a:lnTo>
                    <a:lnTo>
                      <a:pt x="80" y="23"/>
                    </a:lnTo>
                    <a:lnTo>
                      <a:pt x="80" y="23"/>
                    </a:lnTo>
                    <a:lnTo>
                      <a:pt x="79" y="23"/>
                    </a:lnTo>
                    <a:lnTo>
                      <a:pt x="79" y="23"/>
                    </a:lnTo>
                    <a:lnTo>
                      <a:pt x="78" y="23"/>
                    </a:lnTo>
                    <a:lnTo>
                      <a:pt x="77" y="23"/>
                    </a:lnTo>
                    <a:lnTo>
                      <a:pt x="76" y="23"/>
                    </a:lnTo>
                    <a:lnTo>
                      <a:pt x="75" y="23"/>
                    </a:lnTo>
                    <a:lnTo>
                      <a:pt x="75" y="22"/>
                    </a:lnTo>
                    <a:lnTo>
                      <a:pt x="74" y="22"/>
                    </a:lnTo>
                    <a:lnTo>
                      <a:pt x="73" y="22"/>
                    </a:lnTo>
                    <a:lnTo>
                      <a:pt x="73" y="21"/>
                    </a:lnTo>
                    <a:lnTo>
                      <a:pt x="72" y="21"/>
                    </a:lnTo>
                    <a:lnTo>
                      <a:pt x="71" y="20"/>
                    </a:lnTo>
                    <a:lnTo>
                      <a:pt x="70" y="19"/>
                    </a:lnTo>
                    <a:lnTo>
                      <a:pt x="69" y="17"/>
                    </a:lnTo>
                    <a:lnTo>
                      <a:pt x="69" y="17"/>
                    </a:lnTo>
                    <a:lnTo>
                      <a:pt x="68" y="17"/>
                    </a:lnTo>
                    <a:lnTo>
                      <a:pt x="68" y="15"/>
                    </a:lnTo>
                    <a:lnTo>
                      <a:pt x="68" y="14"/>
                    </a:lnTo>
                    <a:lnTo>
                      <a:pt x="68" y="13"/>
                    </a:lnTo>
                    <a:lnTo>
                      <a:pt x="68" y="12"/>
                    </a:lnTo>
                    <a:lnTo>
                      <a:pt x="69" y="11"/>
                    </a:lnTo>
                    <a:lnTo>
                      <a:pt x="69" y="11"/>
                    </a:lnTo>
                    <a:lnTo>
                      <a:pt x="69" y="10"/>
                    </a:lnTo>
                    <a:lnTo>
                      <a:pt x="70" y="9"/>
                    </a:lnTo>
                    <a:lnTo>
                      <a:pt x="71" y="8"/>
                    </a:lnTo>
                    <a:lnTo>
                      <a:pt x="72" y="6"/>
                    </a:lnTo>
                    <a:lnTo>
                      <a:pt x="72" y="6"/>
                    </a:lnTo>
                    <a:lnTo>
                      <a:pt x="72" y="5"/>
                    </a:lnTo>
                    <a:lnTo>
                      <a:pt x="73" y="4"/>
                    </a:lnTo>
                    <a:lnTo>
                      <a:pt x="73" y="3"/>
                    </a:lnTo>
                    <a:lnTo>
                      <a:pt x="78" y="3"/>
                    </a:lnTo>
                    <a:lnTo>
                      <a:pt x="80" y="3"/>
                    </a:lnTo>
                    <a:lnTo>
                      <a:pt x="81" y="3"/>
                    </a:lnTo>
                    <a:lnTo>
                      <a:pt x="83" y="3"/>
                    </a:lnTo>
                    <a:lnTo>
                      <a:pt x="85" y="3"/>
                    </a:lnTo>
                    <a:lnTo>
                      <a:pt x="86" y="3"/>
                    </a:lnTo>
                    <a:lnTo>
                      <a:pt x="88" y="3"/>
                    </a:lnTo>
                    <a:lnTo>
                      <a:pt x="89" y="3"/>
                    </a:lnTo>
                    <a:lnTo>
                      <a:pt x="91" y="3"/>
                    </a:lnTo>
                    <a:lnTo>
                      <a:pt x="92" y="3"/>
                    </a:lnTo>
                    <a:lnTo>
                      <a:pt x="94" y="2"/>
                    </a:lnTo>
                    <a:lnTo>
                      <a:pt x="95" y="2"/>
                    </a:lnTo>
                    <a:lnTo>
                      <a:pt x="96" y="2"/>
                    </a:lnTo>
                    <a:lnTo>
                      <a:pt x="99" y="1"/>
                    </a:lnTo>
                    <a:lnTo>
                      <a:pt x="101" y="0"/>
                    </a:lnTo>
                    <a:lnTo>
                      <a:pt x="103" y="1"/>
                    </a:lnTo>
                    <a:lnTo>
                      <a:pt x="104" y="1"/>
                    </a:lnTo>
                    <a:lnTo>
                      <a:pt x="106" y="2"/>
                    </a:lnTo>
                    <a:lnTo>
                      <a:pt x="108" y="3"/>
                    </a:lnTo>
                    <a:lnTo>
                      <a:pt x="111" y="4"/>
                    </a:lnTo>
                    <a:lnTo>
                      <a:pt x="115" y="5"/>
                    </a:lnTo>
                    <a:lnTo>
                      <a:pt x="115" y="5"/>
                    </a:lnTo>
                    <a:lnTo>
                      <a:pt x="116" y="5"/>
                    </a:lnTo>
                    <a:lnTo>
                      <a:pt x="116" y="5"/>
                    </a:lnTo>
                    <a:lnTo>
                      <a:pt x="116" y="4"/>
                    </a:lnTo>
                    <a:lnTo>
                      <a:pt x="117" y="4"/>
                    </a:lnTo>
                    <a:lnTo>
                      <a:pt x="117" y="3"/>
                    </a:lnTo>
                    <a:lnTo>
                      <a:pt x="117" y="3"/>
                    </a:lnTo>
                    <a:lnTo>
                      <a:pt x="118" y="2"/>
                    </a:lnTo>
                    <a:lnTo>
                      <a:pt x="118" y="1"/>
                    </a:lnTo>
                    <a:lnTo>
                      <a:pt x="118" y="1"/>
                    </a:lnTo>
                    <a:lnTo>
                      <a:pt x="118" y="0"/>
                    </a:lnTo>
                    <a:lnTo>
                      <a:pt x="119" y="0"/>
                    </a:lnTo>
                    <a:lnTo>
                      <a:pt x="119" y="0"/>
                    </a:lnTo>
                    <a:lnTo>
                      <a:pt x="120" y="0"/>
                    </a:lnTo>
                    <a:lnTo>
                      <a:pt x="121" y="1"/>
                    </a:lnTo>
                    <a:lnTo>
                      <a:pt x="122" y="2"/>
                    </a:lnTo>
                    <a:lnTo>
                      <a:pt x="124" y="5"/>
                    </a:lnTo>
                    <a:lnTo>
                      <a:pt x="125" y="6"/>
                    </a:lnTo>
                    <a:lnTo>
                      <a:pt x="126" y="7"/>
                    </a:lnTo>
                    <a:lnTo>
                      <a:pt x="127" y="8"/>
                    </a:lnTo>
                    <a:lnTo>
                      <a:pt x="128" y="10"/>
                    </a:lnTo>
                    <a:lnTo>
                      <a:pt x="129" y="11"/>
                    </a:lnTo>
                    <a:lnTo>
                      <a:pt x="131" y="12"/>
                    </a:lnTo>
                    <a:lnTo>
                      <a:pt x="132" y="12"/>
                    </a:lnTo>
                    <a:lnTo>
                      <a:pt x="134" y="13"/>
                    </a:lnTo>
                    <a:lnTo>
                      <a:pt x="135" y="14"/>
                    </a:lnTo>
                    <a:lnTo>
                      <a:pt x="137" y="14"/>
                    </a:lnTo>
                    <a:lnTo>
                      <a:pt x="138" y="15"/>
                    </a:lnTo>
                    <a:lnTo>
                      <a:pt x="139" y="15"/>
                    </a:lnTo>
                    <a:lnTo>
                      <a:pt x="140" y="15"/>
                    </a:lnTo>
                    <a:lnTo>
                      <a:pt x="141" y="15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defTabSz="914308">
                  <a:defRPr/>
                </a:pPr>
                <a:endParaRPr lang="en-US" sz="9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09" name="Freeform 13"/>
              <p:cNvSpPr>
                <a:spLocks/>
              </p:cNvSpPr>
              <p:nvPr/>
            </p:nvSpPr>
            <p:spPr bwMode="auto">
              <a:xfrm>
                <a:off x="2955851" y="4122018"/>
                <a:ext cx="822196" cy="1324537"/>
              </a:xfrm>
              <a:custGeom>
                <a:avLst/>
                <a:gdLst/>
                <a:ahLst/>
                <a:cxnLst>
                  <a:cxn ang="0">
                    <a:pos x="77" y="17"/>
                  </a:cxn>
                  <a:cxn ang="0">
                    <a:pos x="84" y="37"/>
                  </a:cxn>
                  <a:cxn ang="0">
                    <a:pos x="86" y="57"/>
                  </a:cxn>
                  <a:cxn ang="0">
                    <a:pos x="81" y="75"/>
                  </a:cxn>
                  <a:cxn ang="0">
                    <a:pos x="91" y="84"/>
                  </a:cxn>
                  <a:cxn ang="0">
                    <a:pos x="97" y="94"/>
                  </a:cxn>
                  <a:cxn ang="0">
                    <a:pos x="102" y="104"/>
                  </a:cxn>
                  <a:cxn ang="0">
                    <a:pos x="109" y="109"/>
                  </a:cxn>
                  <a:cxn ang="0">
                    <a:pos x="109" y="115"/>
                  </a:cxn>
                  <a:cxn ang="0">
                    <a:pos x="108" y="117"/>
                  </a:cxn>
                  <a:cxn ang="0">
                    <a:pos x="106" y="119"/>
                  </a:cxn>
                  <a:cxn ang="0">
                    <a:pos x="102" y="120"/>
                  </a:cxn>
                  <a:cxn ang="0">
                    <a:pos x="101" y="119"/>
                  </a:cxn>
                  <a:cxn ang="0">
                    <a:pos x="98" y="121"/>
                  </a:cxn>
                  <a:cxn ang="0">
                    <a:pos x="94" y="125"/>
                  </a:cxn>
                  <a:cxn ang="0">
                    <a:pos x="93" y="128"/>
                  </a:cxn>
                  <a:cxn ang="0">
                    <a:pos x="88" y="130"/>
                  </a:cxn>
                  <a:cxn ang="0">
                    <a:pos x="85" y="132"/>
                  </a:cxn>
                  <a:cxn ang="0">
                    <a:pos x="83" y="134"/>
                  </a:cxn>
                  <a:cxn ang="0">
                    <a:pos x="78" y="136"/>
                  </a:cxn>
                  <a:cxn ang="0">
                    <a:pos x="72" y="140"/>
                  </a:cxn>
                  <a:cxn ang="0">
                    <a:pos x="70" y="144"/>
                  </a:cxn>
                  <a:cxn ang="0">
                    <a:pos x="66" y="148"/>
                  </a:cxn>
                  <a:cxn ang="0">
                    <a:pos x="63" y="151"/>
                  </a:cxn>
                  <a:cxn ang="0">
                    <a:pos x="59" y="158"/>
                  </a:cxn>
                  <a:cxn ang="0">
                    <a:pos x="54" y="165"/>
                  </a:cxn>
                  <a:cxn ang="0">
                    <a:pos x="51" y="162"/>
                  </a:cxn>
                  <a:cxn ang="0">
                    <a:pos x="49" y="160"/>
                  </a:cxn>
                  <a:cxn ang="0">
                    <a:pos x="50" y="157"/>
                  </a:cxn>
                  <a:cxn ang="0">
                    <a:pos x="47" y="152"/>
                  </a:cxn>
                  <a:cxn ang="0">
                    <a:pos x="43" y="148"/>
                  </a:cxn>
                  <a:cxn ang="0">
                    <a:pos x="40" y="147"/>
                  </a:cxn>
                  <a:cxn ang="0">
                    <a:pos x="37" y="148"/>
                  </a:cxn>
                  <a:cxn ang="0">
                    <a:pos x="24" y="149"/>
                  </a:cxn>
                  <a:cxn ang="0">
                    <a:pos x="17" y="146"/>
                  </a:cxn>
                  <a:cxn ang="0">
                    <a:pos x="15" y="139"/>
                  </a:cxn>
                  <a:cxn ang="0">
                    <a:pos x="13" y="135"/>
                  </a:cxn>
                  <a:cxn ang="0">
                    <a:pos x="11" y="129"/>
                  </a:cxn>
                  <a:cxn ang="0">
                    <a:pos x="9" y="123"/>
                  </a:cxn>
                  <a:cxn ang="0">
                    <a:pos x="3" y="122"/>
                  </a:cxn>
                  <a:cxn ang="0">
                    <a:pos x="1" y="118"/>
                  </a:cxn>
                  <a:cxn ang="0">
                    <a:pos x="0" y="110"/>
                  </a:cxn>
                  <a:cxn ang="0">
                    <a:pos x="1" y="109"/>
                  </a:cxn>
                  <a:cxn ang="0">
                    <a:pos x="11" y="103"/>
                  </a:cxn>
                  <a:cxn ang="0">
                    <a:pos x="36" y="87"/>
                  </a:cxn>
                  <a:cxn ang="0">
                    <a:pos x="35" y="82"/>
                  </a:cxn>
                  <a:cxn ang="0">
                    <a:pos x="36" y="77"/>
                  </a:cxn>
                  <a:cxn ang="0">
                    <a:pos x="40" y="68"/>
                  </a:cxn>
                  <a:cxn ang="0">
                    <a:pos x="39" y="57"/>
                  </a:cxn>
                  <a:cxn ang="0">
                    <a:pos x="32" y="52"/>
                  </a:cxn>
                  <a:cxn ang="0">
                    <a:pos x="31" y="31"/>
                  </a:cxn>
                  <a:cxn ang="0">
                    <a:pos x="27" y="25"/>
                  </a:cxn>
                  <a:cxn ang="0">
                    <a:pos x="25" y="20"/>
                  </a:cxn>
                  <a:cxn ang="0">
                    <a:pos x="28" y="8"/>
                  </a:cxn>
                  <a:cxn ang="0">
                    <a:pos x="34" y="1"/>
                  </a:cxn>
                  <a:cxn ang="0">
                    <a:pos x="60" y="1"/>
                  </a:cxn>
                  <a:cxn ang="0">
                    <a:pos x="70" y="2"/>
                  </a:cxn>
                </a:cxnLst>
                <a:rect l="0" t="0" r="r" b="b"/>
                <a:pathLst>
                  <a:path w="110" h="165">
                    <a:moveTo>
                      <a:pt x="71" y="4"/>
                    </a:moveTo>
                    <a:lnTo>
                      <a:pt x="72" y="6"/>
                    </a:lnTo>
                    <a:lnTo>
                      <a:pt x="73" y="7"/>
                    </a:lnTo>
                    <a:lnTo>
                      <a:pt x="74" y="9"/>
                    </a:lnTo>
                    <a:lnTo>
                      <a:pt x="75" y="11"/>
                    </a:lnTo>
                    <a:lnTo>
                      <a:pt x="76" y="13"/>
                    </a:lnTo>
                    <a:lnTo>
                      <a:pt x="77" y="15"/>
                    </a:lnTo>
                    <a:lnTo>
                      <a:pt x="77" y="17"/>
                    </a:lnTo>
                    <a:lnTo>
                      <a:pt x="78" y="19"/>
                    </a:lnTo>
                    <a:lnTo>
                      <a:pt x="79" y="21"/>
                    </a:lnTo>
                    <a:lnTo>
                      <a:pt x="80" y="23"/>
                    </a:lnTo>
                    <a:lnTo>
                      <a:pt x="82" y="28"/>
                    </a:lnTo>
                    <a:lnTo>
                      <a:pt x="82" y="30"/>
                    </a:lnTo>
                    <a:lnTo>
                      <a:pt x="83" y="33"/>
                    </a:lnTo>
                    <a:lnTo>
                      <a:pt x="84" y="35"/>
                    </a:lnTo>
                    <a:lnTo>
                      <a:pt x="84" y="37"/>
                    </a:lnTo>
                    <a:lnTo>
                      <a:pt x="85" y="40"/>
                    </a:lnTo>
                    <a:lnTo>
                      <a:pt x="85" y="42"/>
                    </a:lnTo>
                    <a:lnTo>
                      <a:pt x="86" y="45"/>
                    </a:lnTo>
                    <a:lnTo>
                      <a:pt x="86" y="47"/>
                    </a:lnTo>
                    <a:lnTo>
                      <a:pt x="86" y="49"/>
                    </a:lnTo>
                    <a:lnTo>
                      <a:pt x="86" y="52"/>
                    </a:lnTo>
                    <a:lnTo>
                      <a:pt x="86" y="54"/>
                    </a:lnTo>
                    <a:lnTo>
                      <a:pt x="86" y="57"/>
                    </a:lnTo>
                    <a:lnTo>
                      <a:pt x="86" y="59"/>
                    </a:lnTo>
                    <a:lnTo>
                      <a:pt x="86" y="62"/>
                    </a:lnTo>
                    <a:lnTo>
                      <a:pt x="85" y="64"/>
                    </a:lnTo>
                    <a:lnTo>
                      <a:pt x="85" y="66"/>
                    </a:lnTo>
                    <a:lnTo>
                      <a:pt x="84" y="69"/>
                    </a:lnTo>
                    <a:lnTo>
                      <a:pt x="83" y="71"/>
                    </a:lnTo>
                    <a:lnTo>
                      <a:pt x="83" y="73"/>
                    </a:lnTo>
                    <a:lnTo>
                      <a:pt x="81" y="75"/>
                    </a:lnTo>
                    <a:lnTo>
                      <a:pt x="82" y="76"/>
                    </a:lnTo>
                    <a:lnTo>
                      <a:pt x="83" y="77"/>
                    </a:lnTo>
                    <a:lnTo>
                      <a:pt x="84" y="78"/>
                    </a:lnTo>
                    <a:lnTo>
                      <a:pt x="85" y="79"/>
                    </a:lnTo>
                    <a:lnTo>
                      <a:pt x="86" y="80"/>
                    </a:lnTo>
                    <a:lnTo>
                      <a:pt x="88" y="82"/>
                    </a:lnTo>
                    <a:lnTo>
                      <a:pt x="90" y="83"/>
                    </a:lnTo>
                    <a:lnTo>
                      <a:pt x="91" y="84"/>
                    </a:lnTo>
                    <a:lnTo>
                      <a:pt x="92" y="85"/>
                    </a:lnTo>
                    <a:lnTo>
                      <a:pt x="93" y="86"/>
                    </a:lnTo>
                    <a:lnTo>
                      <a:pt x="94" y="87"/>
                    </a:lnTo>
                    <a:lnTo>
                      <a:pt x="94" y="88"/>
                    </a:lnTo>
                    <a:lnTo>
                      <a:pt x="95" y="89"/>
                    </a:lnTo>
                    <a:lnTo>
                      <a:pt x="95" y="90"/>
                    </a:lnTo>
                    <a:lnTo>
                      <a:pt x="96" y="92"/>
                    </a:lnTo>
                    <a:lnTo>
                      <a:pt x="97" y="94"/>
                    </a:lnTo>
                    <a:lnTo>
                      <a:pt x="97" y="95"/>
                    </a:lnTo>
                    <a:lnTo>
                      <a:pt x="98" y="97"/>
                    </a:lnTo>
                    <a:lnTo>
                      <a:pt x="99" y="99"/>
                    </a:lnTo>
                    <a:lnTo>
                      <a:pt x="99" y="100"/>
                    </a:lnTo>
                    <a:lnTo>
                      <a:pt x="100" y="102"/>
                    </a:lnTo>
                    <a:lnTo>
                      <a:pt x="100" y="103"/>
                    </a:lnTo>
                    <a:lnTo>
                      <a:pt x="101" y="103"/>
                    </a:lnTo>
                    <a:lnTo>
                      <a:pt x="102" y="104"/>
                    </a:lnTo>
                    <a:lnTo>
                      <a:pt x="103" y="104"/>
                    </a:lnTo>
                    <a:lnTo>
                      <a:pt x="104" y="105"/>
                    </a:lnTo>
                    <a:lnTo>
                      <a:pt x="106" y="106"/>
                    </a:lnTo>
                    <a:lnTo>
                      <a:pt x="107" y="106"/>
                    </a:lnTo>
                    <a:lnTo>
                      <a:pt x="107" y="107"/>
                    </a:lnTo>
                    <a:lnTo>
                      <a:pt x="108" y="107"/>
                    </a:lnTo>
                    <a:lnTo>
                      <a:pt x="108" y="108"/>
                    </a:lnTo>
                    <a:lnTo>
                      <a:pt x="109" y="109"/>
                    </a:lnTo>
                    <a:lnTo>
                      <a:pt x="109" y="110"/>
                    </a:lnTo>
                    <a:lnTo>
                      <a:pt x="110" y="111"/>
                    </a:lnTo>
                    <a:lnTo>
                      <a:pt x="110" y="112"/>
                    </a:lnTo>
                    <a:lnTo>
                      <a:pt x="110" y="113"/>
                    </a:lnTo>
                    <a:lnTo>
                      <a:pt x="110" y="114"/>
                    </a:lnTo>
                    <a:lnTo>
                      <a:pt x="110" y="114"/>
                    </a:lnTo>
                    <a:lnTo>
                      <a:pt x="110" y="115"/>
                    </a:lnTo>
                    <a:lnTo>
                      <a:pt x="109" y="115"/>
                    </a:lnTo>
                    <a:lnTo>
                      <a:pt x="109" y="115"/>
                    </a:lnTo>
                    <a:lnTo>
                      <a:pt x="108" y="115"/>
                    </a:lnTo>
                    <a:lnTo>
                      <a:pt x="108" y="116"/>
                    </a:lnTo>
                    <a:lnTo>
                      <a:pt x="108" y="116"/>
                    </a:lnTo>
                    <a:lnTo>
                      <a:pt x="108" y="116"/>
                    </a:lnTo>
                    <a:lnTo>
                      <a:pt x="108" y="117"/>
                    </a:lnTo>
                    <a:lnTo>
                      <a:pt x="108" y="117"/>
                    </a:lnTo>
                    <a:lnTo>
                      <a:pt x="108" y="117"/>
                    </a:lnTo>
                    <a:lnTo>
                      <a:pt x="107" y="117"/>
                    </a:lnTo>
                    <a:lnTo>
                      <a:pt x="107" y="117"/>
                    </a:lnTo>
                    <a:lnTo>
                      <a:pt x="107" y="117"/>
                    </a:lnTo>
                    <a:lnTo>
                      <a:pt x="106" y="117"/>
                    </a:lnTo>
                    <a:lnTo>
                      <a:pt x="106" y="118"/>
                    </a:lnTo>
                    <a:lnTo>
                      <a:pt x="106" y="118"/>
                    </a:lnTo>
                    <a:lnTo>
                      <a:pt x="106" y="119"/>
                    </a:lnTo>
                    <a:lnTo>
                      <a:pt x="106" y="119"/>
                    </a:lnTo>
                    <a:lnTo>
                      <a:pt x="105" y="119"/>
                    </a:lnTo>
                    <a:lnTo>
                      <a:pt x="105" y="119"/>
                    </a:lnTo>
                    <a:lnTo>
                      <a:pt x="105" y="119"/>
                    </a:lnTo>
                    <a:lnTo>
                      <a:pt x="104" y="120"/>
                    </a:lnTo>
                    <a:lnTo>
                      <a:pt x="104" y="120"/>
                    </a:lnTo>
                    <a:lnTo>
                      <a:pt x="103" y="120"/>
                    </a:lnTo>
                    <a:lnTo>
                      <a:pt x="103" y="120"/>
                    </a:lnTo>
                    <a:lnTo>
                      <a:pt x="102" y="120"/>
                    </a:lnTo>
                    <a:lnTo>
                      <a:pt x="102" y="120"/>
                    </a:lnTo>
                    <a:lnTo>
                      <a:pt x="101" y="120"/>
                    </a:lnTo>
                    <a:lnTo>
                      <a:pt x="101" y="120"/>
                    </a:lnTo>
                    <a:lnTo>
                      <a:pt x="101" y="120"/>
                    </a:lnTo>
                    <a:lnTo>
                      <a:pt x="101" y="119"/>
                    </a:lnTo>
                    <a:lnTo>
                      <a:pt x="101" y="119"/>
                    </a:lnTo>
                    <a:lnTo>
                      <a:pt x="101" y="119"/>
                    </a:lnTo>
                    <a:lnTo>
                      <a:pt x="101" y="119"/>
                    </a:lnTo>
                    <a:lnTo>
                      <a:pt x="100" y="119"/>
                    </a:lnTo>
                    <a:lnTo>
                      <a:pt x="100" y="119"/>
                    </a:lnTo>
                    <a:lnTo>
                      <a:pt x="100" y="119"/>
                    </a:lnTo>
                    <a:lnTo>
                      <a:pt x="100" y="120"/>
                    </a:lnTo>
                    <a:lnTo>
                      <a:pt x="100" y="120"/>
                    </a:lnTo>
                    <a:lnTo>
                      <a:pt x="100" y="120"/>
                    </a:lnTo>
                    <a:lnTo>
                      <a:pt x="99" y="121"/>
                    </a:lnTo>
                    <a:lnTo>
                      <a:pt x="98" y="121"/>
                    </a:lnTo>
                    <a:lnTo>
                      <a:pt x="97" y="122"/>
                    </a:lnTo>
                    <a:lnTo>
                      <a:pt x="97" y="122"/>
                    </a:lnTo>
                    <a:lnTo>
                      <a:pt x="96" y="123"/>
                    </a:lnTo>
                    <a:lnTo>
                      <a:pt x="96" y="124"/>
                    </a:lnTo>
                    <a:lnTo>
                      <a:pt x="95" y="124"/>
                    </a:lnTo>
                    <a:lnTo>
                      <a:pt x="95" y="125"/>
                    </a:lnTo>
                    <a:lnTo>
                      <a:pt x="94" y="125"/>
                    </a:lnTo>
                    <a:lnTo>
                      <a:pt x="94" y="125"/>
                    </a:lnTo>
                    <a:lnTo>
                      <a:pt x="94" y="125"/>
                    </a:lnTo>
                    <a:lnTo>
                      <a:pt x="93" y="126"/>
                    </a:lnTo>
                    <a:lnTo>
                      <a:pt x="93" y="126"/>
                    </a:lnTo>
                    <a:lnTo>
                      <a:pt x="93" y="126"/>
                    </a:lnTo>
                    <a:lnTo>
                      <a:pt x="93" y="127"/>
                    </a:lnTo>
                    <a:lnTo>
                      <a:pt x="93" y="127"/>
                    </a:lnTo>
                    <a:lnTo>
                      <a:pt x="93" y="128"/>
                    </a:lnTo>
                    <a:lnTo>
                      <a:pt x="93" y="128"/>
                    </a:lnTo>
                    <a:lnTo>
                      <a:pt x="92" y="128"/>
                    </a:lnTo>
                    <a:lnTo>
                      <a:pt x="92" y="129"/>
                    </a:lnTo>
                    <a:lnTo>
                      <a:pt x="91" y="130"/>
                    </a:lnTo>
                    <a:lnTo>
                      <a:pt x="90" y="130"/>
                    </a:lnTo>
                    <a:lnTo>
                      <a:pt x="89" y="130"/>
                    </a:lnTo>
                    <a:lnTo>
                      <a:pt x="89" y="130"/>
                    </a:lnTo>
                    <a:lnTo>
                      <a:pt x="88" y="130"/>
                    </a:lnTo>
                    <a:lnTo>
                      <a:pt x="88" y="130"/>
                    </a:lnTo>
                    <a:lnTo>
                      <a:pt x="88" y="131"/>
                    </a:lnTo>
                    <a:lnTo>
                      <a:pt x="88" y="131"/>
                    </a:lnTo>
                    <a:lnTo>
                      <a:pt x="88" y="131"/>
                    </a:lnTo>
                    <a:lnTo>
                      <a:pt x="88" y="132"/>
                    </a:lnTo>
                    <a:lnTo>
                      <a:pt x="87" y="132"/>
                    </a:lnTo>
                    <a:lnTo>
                      <a:pt x="86" y="132"/>
                    </a:lnTo>
                    <a:lnTo>
                      <a:pt x="86" y="132"/>
                    </a:lnTo>
                    <a:lnTo>
                      <a:pt x="85" y="132"/>
                    </a:lnTo>
                    <a:lnTo>
                      <a:pt x="84" y="132"/>
                    </a:lnTo>
                    <a:lnTo>
                      <a:pt x="84" y="132"/>
                    </a:lnTo>
                    <a:lnTo>
                      <a:pt x="84" y="132"/>
                    </a:lnTo>
                    <a:lnTo>
                      <a:pt x="83" y="132"/>
                    </a:lnTo>
                    <a:lnTo>
                      <a:pt x="83" y="132"/>
                    </a:lnTo>
                    <a:lnTo>
                      <a:pt x="83" y="133"/>
                    </a:lnTo>
                    <a:lnTo>
                      <a:pt x="83" y="133"/>
                    </a:lnTo>
                    <a:lnTo>
                      <a:pt x="83" y="134"/>
                    </a:lnTo>
                    <a:lnTo>
                      <a:pt x="82" y="134"/>
                    </a:lnTo>
                    <a:lnTo>
                      <a:pt x="81" y="134"/>
                    </a:lnTo>
                    <a:lnTo>
                      <a:pt x="80" y="134"/>
                    </a:lnTo>
                    <a:lnTo>
                      <a:pt x="80" y="134"/>
                    </a:lnTo>
                    <a:lnTo>
                      <a:pt x="79" y="135"/>
                    </a:lnTo>
                    <a:lnTo>
                      <a:pt x="78" y="135"/>
                    </a:lnTo>
                    <a:lnTo>
                      <a:pt x="78" y="136"/>
                    </a:lnTo>
                    <a:lnTo>
                      <a:pt x="78" y="136"/>
                    </a:lnTo>
                    <a:lnTo>
                      <a:pt x="77" y="138"/>
                    </a:lnTo>
                    <a:lnTo>
                      <a:pt x="76" y="138"/>
                    </a:lnTo>
                    <a:lnTo>
                      <a:pt x="76" y="139"/>
                    </a:lnTo>
                    <a:lnTo>
                      <a:pt x="75" y="139"/>
                    </a:lnTo>
                    <a:lnTo>
                      <a:pt x="75" y="140"/>
                    </a:lnTo>
                    <a:lnTo>
                      <a:pt x="74" y="140"/>
                    </a:lnTo>
                    <a:lnTo>
                      <a:pt x="73" y="140"/>
                    </a:lnTo>
                    <a:lnTo>
                      <a:pt x="72" y="140"/>
                    </a:lnTo>
                    <a:lnTo>
                      <a:pt x="72" y="141"/>
                    </a:lnTo>
                    <a:lnTo>
                      <a:pt x="71" y="141"/>
                    </a:lnTo>
                    <a:lnTo>
                      <a:pt x="71" y="141"/>
                    </a:lnTo>
                    <a:lnTo>
                      <a:pt x="71" y="142"/>
                    </a:lnTo>
                    <a:lnTo>
                      <a:pt x="70" y="142"/>
                    </a:lnTo>
                    <a:lnTo>
                      <a:pt x="70" y="143"/>
                    </a:lnTo>
                    <a:lnTo>
                      <a:pt x="70" y="144"/>
                    </a:lnTo>
                    <a:lnTo>
                      <a:pt x="70" y="144"/>
                    </a:lnTo>
                    <a:lnTo>
                      <a:pt x="69" y="145"/>
                    </a:lnTo>
                    <a:lnTo>
                      <a:pt x="69" y="145"/>
                    </a:lnTo>
                    <a:lnTo>
                      <a:pt x="69" y="146"/>
                    </a:lnTo>
                    <a:lnTo>
                      <a:pt x="68" y="146"/>
                    </a:lnTo>
                    <a:lnTo>
                      <a:pt x="67" y="147"/>
                    </a:lnTo>
                    <a:lnTo>
                      <a:pt x="67" y="147"/>
                    </a:lnTo>
                    <a:lnTo>
                      <a:pt x="67" y="148"/>
                    </a:lnTo>
                    <a:lnTo>
                      <a:pt x="66" y="148"/>
                    </a:lnTo>
                    <a:lnTo>
                      <a:pt x="66" y="149"/>
                    </a:lnTo>
                    <a:lnTo>
                      <a:pt x="66" y="149"/>
                    </a:lnTo>
                    <a:lnTo>
                      <a:pt x="65" y="149"/>
                    </a:lnTo>
                    <a:lnTo>
                      <a:pt x="65" y="149"/>
                    </a:lnTo>
                    <a:lnTo>
                      <a:pt x="64" y="150"/>
                    </a:lnTo>
                    <a:lnTo>
                      <a:pt x="64" y="150"/>
                    </a:lnTo>
                    <a:lnTo>
                      <a:pt x="64" y="151"/>
                    </a:lnTo>
                    <a:lnTo>
                      <a:pt x="63" y="151"/>
                    </a:lnTo>
                    <a:lnTo>
                      <a:pt x="63" y="152"/>
                    </a:lnTo>
                    <a:lnTo>
                      <a:pt x="62" y="152"/>
                    </a:lnTo>
                    <a:lnTo>
                      <a:pt x="62" y="153"/>
                    </a:lnTo>
                    <a:lnTo>
                      <a:pt x="61" y="154"/>
                    </a:lnTo>
                    <a:lnTo>
                      <a:pt x="61" y="154"/>
                    </a:lnTo>
                    <a:lnTo>
                      <a:pt x="60" y="155"/>
                    </a:lnTo>
                    <a:lnTo>
                      <a:pt x="60" y="156"/>
                    </a:lnTo>
                    <a:lnTo>
                      <a:pt x="59" y="158"/>
                    </a:lnTo>
                    <a:lnTo>
                      <a:pt x="58" y="160"/>
                    </a:lnTo>
                    <a:lnTo>
                      <a:pt x="58" y="162"/>
                    </a:lnTo>
                    <a:lnTo>
                      <a:pt x="57" y="163"/>
                    </a:lnTo>
                    <a:lnTo>
                      <a:pt x="56" y="165"/>
                    </a:lnTo>
                    <a:lnTo>
                      <a:pt x="56" y="165"/>
                    </a:lnTo>
                    <a:lnTo>
                      <a:pt x="55" y="165"/>
                    </a:lnTo>
                    <a:lnTo>
                      <a:pt x="54" y="165"/>
                    </a:lnTo>
                    <a:lnTo>
                      <a:pt x="54" y="165"/>
                    </a:lnTo>
                    <a:lnTo>
                      <a:pt x="53" y="165"/>
                    </a:lnTo>
                    <a:lnTo>
                      <a:pt x="53" y="165"/>
                    </a:lnTo>
                    <a:lnTo>
                      <a:pt x="53" y="164"/>
                    </a:lnTo>
                    <a:lnTo>
                      <a:pt x="53" y="164"/>
                    </a:lnTo>
                    <a:lnTo>
                      <a:pt x="52" y="163"/>
                    </a:lnTo>
                    <a:lnTo>
                      <a:pt x="52" y="163"/>
                    </a:lnTo>
                    <a:lnTo>
                      <a:pt x="52" y="163"/>
                    </a:lnTo>
                    <a:lnTo>
                      <a:pt x="51" y="162"/>
                    </a:lnTo>
                    <a:lnTo>
                      <a:pt x="51" y="162"/>
                    </a:lnTo>
                    <a:lnTo>
                      <a:pt x="50" y="162"/>
                    </a:lnTo>
                    <a:lnTo>
                      <a:pt x="50" y="162"/>
                    </a:lnTo>
                    <a:lnTo>
                      <a:pt x="50" y="161"/>
                    </a:lnTo>
                    <a:lnTo>
                      <a:pt x="50" y="161"/>
                    </a:lnTo>
                    <a:lnTo>
                      <a:pt x="50" y="161"/>
                    </a:lnTo>
                    <a:lnTo>
                      <a:pt x="49" y="160"/>
                    </a:lnTo>
                    <a:lnTo>
                      <a:pt x="49" y="160"/>
                    </a:lnTo>
                    <a:lnTo>
                      <a:pt x="49" y="160"/>
                    </a:lnTo>
                    <a:lnTo>
                      <a:pt x="48" y="160"/>
                    </a:lnTo>
                    <a:lnTo>
                      <a:pt x="48" y="160"/>
                    </a:lnTo>
                    <a:lnTo>
                      <a:pt x="49" y="159"/>
                    </a:lnTo>
                    <a:lnTo>
                      <a:pt x="49" y="159"/>
                    </a:lnTo>
                    <a:lnTo>
                      <a:pt x="49" y="158"/>
                    </a:lnTo>
                    <a:lnTo>
                      <a:pt x="49" y="158"/>
                    </a:lnTo>
                    <a:lnTo>
                      <a:pt x="50" y="157"/>
                    </a:lnTo>
                    <a:lnTo>
                      <a:pt x="50" y="157"/>
                    </a:lnTo>
                    <a:lnTo>
                      <a:pt x="50" y="157"/>
                    </a:lnTo>
                    <a:lnTo>
                      <a:pt x="50" y="156"/>
                    </a:lnTo>
                    <a:lnTo>
                      <a:pt x="49" y="155"/>
                    </a:lnTo>
                    <a:lnTo>
                      <a:pt x="49" y="154"/>
                    </a:lnTo>
                    <a:lnTo>
                      <a:pt x="49" y="153"/>
                    </a:lnTo>
                    <a:lnTo>
                      <a:pt x="48" y="152"/>
                    </a:lnTo>
                    <a:lnTo>
                      <a:pt x="47" y="152"/>
                    </a:lnTo>
                    <a:lnTo>
                      <a:pt x="47" y="151"/>
                    </a:lnTo>
                    <a:lnTo>
                      <a:pt x="46" y="150"/>
                    </a:lnTo>
                    <a:lnTo>
                      <a:pt x="45" y="150"/>
                    </a:lnTo>
                    <a:lnTo>
                      <a:pt x="44" y="149"/>
                    </a:lnTo>
                    <a:lnTo>
                      <a:pt x="44" y="149"/>
                    </a:lnTo>
                    <a:lnTo>
                      <a:pt x="43" y="149"/>
                    </a:lnTo>
                    <a:lnTo>
                      <a:pt x="43" y="148"/>
                    </a:lnTo>
                    <a:lnTo>
                      <a:pt x="43" y="148"/>
                    </a:lnTo>
                    <a:lnTo>
                      <a:pt x="43" y="147"/>
                    </a:lnTo>
                    <a:lnTo>
                      <a:pt x="43" y="147"/>
                    </a:lnTo>
                    <a:lnTo>
                      <a:pt x="42" y="147"/>
                    </a:lnTo>
                    <a:lnTo>
                      <a:pt x="42" y="147"/>
                    </a:lnTo>
                    <a:lnTo>
                      <a:pt x="41" y="147"/>
                    </a:lnTo>
                    <a:lnTo>
                      <a:pt x="41" y="147"/>
                    </a:lnTo>
                    <a:lnTo>
                      <a:pt x="41" y="147"/>
                    </a:lnTo>
                    <a:lnTo>
                      <a:pt x="40" y="147"/>
                    </a:lnTo>
                    <a:lnTo>
                      <a:pt x="40" y="147"/>
                    </a:lnTo>
                    <a:lnTo>
                      <a:pt x="39" y="147"/>
                    </a:lnTo>
                    <a:lnTo>
                      <a:pt x="38" y="147"/>
                    </a:lnTo>
                    <a:lnTo>
                      <a:pt x="38" y="147"/>
                    </a:lnTo>
                    <a:lnTo>
                      <a:pt x="37" y="147"/>
                    </a:lnTo>
                    <a:lnTo>
                      <a:pt x="37" y="147"/>
                    </a:lnTo>
                    <a:lnTo>
                      <a:pt x="37" y="148"/>
                    </a:lnTo>
                    <a:lnTo>
                      <a:pt x="37" y="148"/>
                    </a:lnTo>
                    <a:lnTo>
                      <a:pt x="36" y="149"/>
                    </a:lnTo>
                    <a:lnTo>
                      <a:pt x="35" y="148"/>
                    </a:lnTo>
                    <a:lnTo>
                      <a:pt x="34" y="148"/>
                    </a:lnTo>
                    <a:lnTo>
                      <a:pt x="32" y="148"/>
                    </a:lnTo>
                    <a:lnTo>
                      <a:pt x="31" y="148"/>
                    </a:lnTo>
                    <a:lnTo>
                      <a:pt x="28" y="149"/>
                    </a:lnTo>
                    <a:lnTo>
                      <a:pt x="25" y="149"/>
                    </a:lnTo>
                    <a:lnTo>
                      <a:pt x="24" y="149"/>
                    </a:lnTo>
                    <a:lnTo>
                      <a:pt x="22" y="149"/>
                    </a:lnTo>
                    <a:lnTo>
                      <a:pt x="21" y="149"/>
                    </a:lnTo>
                    <a:lnTo>
                      <a:pt x="20" y="149"/>
                    </a:lnTo>
                    <a:lnTo>
                      <a:pt x="19" y="148"/>
                    </a:lnTo>
                    <a:lnTo>
                      <a:pt x="18" y="148"/>
                    </a:lnTo>
                    <a:lnTo>
                      <a:pt x="17" y="148"/>
                    </a:lnTo>
                    <a:lnTo>
                      <a:pt x="16" y="147"/>
                    </a:lnTo>
                    <a:lnTo>
                      <a:pt x="17" y="146"/>
                    </a:lnTo>
                    <a:lnTo>
                      <a:pt x="17" y="146"/>
                    </a:lnTo>
                    <a:lnTo>
                      <a:pt x="16" y="145"/>
                    </a:lnTo>
                    <a:lnTo>
                      <a:pt x="16" y="145"/>
                    </a:lnTo>
                    <a:lnTo>
                      <a:pt x="16" y="144"/>
                    </a:lnTo>
                    <a:lnTo>
                      <a:pt x="16" y="144"/>
                    </a:lnTo>
                    <a:lnTo>
                      <a:pt x="15" y="144"/>
                    </a:lnTo>
                    <a:lnTo>
                      <a:pt x="15" y="144"/>
                    </a:lnTo>
                    <a:lnTo>
                      <a:pt x="15" y="139"/>
                    </a:lnTo>
                    <a:lnTo>
                      <a:pt x="15" y="138"/>
                    </a:lnTo>
                    <a:lnTo>
                      <a:pt x="15" y="137"/>
                    </a:lnTo>
                    <a:lnTo>
                      <a:pt x="15" y="137"/>
                    </a:lnTo>
                    <a:lnTo>
                      <a:pt x="15" y="136"/>
                    </a:lnTo>
                    <a:lnTo>
                      <a:pt x="14" y="136"/>
                    </a:lnTo>
                    <a:lnTo>
                      <a:pt x="14" y="136"/>
                    </a:lnTo>
                    <a:lnTo>
                      <a:pt x="13" y="135"/>
                    </a:lnTo>
                    <a:lnTo>
                      <a:pt x="13" y="135"/>
                    </a:lnTo>
                    <a:lnTo>
                      <a:pt x="13" y="130"/>
                    </a:lnTo>
                    <a:lnTo>
                      <a:pt x="13" y="130"/>
                    </a:lnTo>
                    <a:lnTo>
                      <a:pt x="13" y="129"/>
                    </a:lnTo>
                    <a:lnTo>
                      <a:pt x="13" y="129"/>
                    </a:lnTo>
                    <a:lnTo>
                      <a:pt x="13" y="129"/>
                    </a:lnTo>
                    <a:lnTo>
                      <a:pt x="12" y="129"/>
                    </a:lnTo>
                    <a:lnTo>
                      <a:pt x="12" y="129"/>
                    </a:lnTo>
                    <a:lnTo>
                      <a:pt x="11" y="129"/>
                    </a:lnTo>
                    <a:lnTo>
                      <a:pt x="11" y="124"/>
                    </a:lnTo>
                    <a:lnTo>
                      <a:pt x="11" y="124"/>
                    </a:lnTo>
                    <a:lnTo>
                      <a:pt x="11" y="124"/>
                    </a:lnTo>
                    <a:lnTo>
                      <a:pt x="10" y="124"/>
                    </a:lnTo>
                    <a:lnTo>
                      <a:pt x="10" y="124"/>
                    </a:lnTo>
                    <a:lnTo>
                      <a:pt x="10" y="123"/>
                    </a:lnTo>
                    <a:lnTo>
                      <a:pt x="9" y="123"/>
                    </a:lnTo>
                    <a:lnTo>
                      <a:pt x="9" y="123"/>
                    </a:lnTo>
                    <a:lnTo>
                      <a:pt x="9" y="123"/>
                    </a:lnTo>
                    <a:lnTo>
                      <a:pt x="9" y="122"/>
                    </a:lnTo>
                    <a:lnTo>
                      <a:pt x="8" y="122"/>
                    </a:lnTo>
                    <a:lnTo>
                      <a:pt x="7" y="122"/>
                    </a:lnTo>
                    <a:lnTo>
                      <a:pt x="6" y="122"/>
                    </a:lnTo>
                    <a:lnTo>
                      <a:pt x="5" y="122"/>
                    </a:lnTo>
                    <a:lnTo>
                      <a:pt x="4" y="122"/>
                    </a:lnTo>
                    <a:lnTo>
                      <a:pt x="3" y="122"/>
                    </a:lnTo>
                    <a:lnTo>
                      <a:pt x="2" y="122"/>
                    </a:lnTo>
                    <a:lnTo>
                      <a:pt x="1" y="122"/>
                    </a:lnTo>
                    <a:lnTo>
                      <a:pt x="1" y="121"/>
                    </a:lnTo>
                    <a:lnTo>
                      <a:pt x="1" y="120"/>
                    </a:lnTo>
                    <a:lnTo>
                      <a:pt x="1" y="119"/>
                    </a:lnTo>
                    <a:lnTo>
                      <a:pt x="1" y="119"/>
                    </a:lnTo>
                    <a:lnTo>
                      <a:pt x="1" y="118"/>
                    </a:lnTo>
                    <a:lnTo>
                      <a:pt x="1" y="118"/>
                    </a:lnTo>
                    <a:lnTo>
                      <a:pt x="1" y="117"/>
                    </a:lnTo>
                    <a:lnTo>
                      <a:pt x="1" y="116"/>
                    </a:lnTo>
                    <a:lnTo>
                      <a:pt x="1" y="116"/>
                    </a:lnTo>
                    <a:lnTo>
                      <a:pt x="1" y="116"/>
                    </a:lnTo>
                    <a:lnTo>
                      <a:pt x="0" y="115"/>
                    </a:lnTo>
                    <a:lnTo>
                      <a:pt x="0" y="115"/>
                    </a:lnTo>
                    <a:lnTo>
                      <a:pt x="0" y="115"/>
                    </a:lnTo>
                    <a:lnTo>
                      <a:pt x="0" y="110"/>
                    </a:lnTo>
                    <a:lnTo>
                      <a:pt x="0" y="110"/>
                    </a:lnTo>
                    <a:lnTo>
                      <a:pt x="0" y="110"/>
                    </a:lnTo>
                    <a:lnTo>
                      <a:pt x="1" y="110"/>
                    </a:lnTo>
                    <a:lnTo>
                      <a:pt x="1" y="110"/>
                    </a:lnTo>
                    <a:lnTo>
                      <a:pt x="1" y="110"/>
                    </a:lnTo>
                    <a:lnTo>
                      <a:pt x="1" y="110"/>
                    </a:lnTo>
                    <a:lnTo>
                      <a:pt x="1" y="109"/>
                    </a:lnTo>
                    <a:lnTo>
                      <a:pt x="1" y="109"/>
                    </a:lnTo>
                    <a:lnTo>
                      <a:pt x="2" y="109"/>
                    </a:lnTo>
                    <a:lnTo>
                      <a:pt x="2" y="109"/>
                    </a:lnTo>
                    <a:lnTo>
                      <a:pt x="3" y="109"/>
                    </a:lnTo>
                    <a:lnTo>
                      <a:pt x="3" y="109"/>
                    </a:lnTo>
                    <a:lnTo>
                      <a:pt x="5" y="107"/>
                    </a:lnTo>
                    <a:lnTo>
                      <a:pt x="7" y="106"/>
                    </a:lnTo>
                    <a:lnTo>
                      <a:pt x="9" y="104"/>
                    </a:lnTo>
                    <a:lnTo>
                      <a:pt x="11" y="103"/>
                    </a:lnTo>
                    <a:lnTo>
                      <a:pt x="15" y="100"/>
                    </a:lnTo>
                    <a:lnTo>
                      <a:pt x="20" y="98"/>
                    </a:lnTo>
                    <a:lnTo>
                      <a:pt x="24" y="95"/>
                    </a:lnTo>
                    <a:lnTo>
                      <a:pt x="28" y="93"/>
                    </a:lnTo>
                    <a:lnTo>
                      <a:pt x="30" y="91"/>
                    </a:lnTo>
                    <a:lnTo>
                      <a:pt x="32" y="90"/>
                    </a:lnTo>
                    <a:lnTo>
                      <a:pt x="34" y="89"/>
                    </a:lnTo>
                    <a:lnTo>
                      <a:pt x="36" y="87"/>
                    </a:lnTo>
                    <a:lnTo>
                      <a:pt x="37" y="86"/>
                    </a:lnTo>
                    <a:lnTo>
                      <a:pt x="37" y="86"/>
                    </a:lnTo>
                    <a:lnTo>
                      <a:pt x="37" y="85"/>
                    </a:lnTo>
                    <a:lnTo>
                      <a:pt x="36" y="85"/>
                    </a:lnTo>
                    <a:lnTo>
                      <a:pt x="36" y="84"/>
                    </a:lnTo>
                    <a:lnTo>
                      <a:pt x="36" y="84"/>
                    </a:lnTo>
                    <a:lnTo>
                      <a:pt x="35" y="83"/>
                    </a:lnTo>
                    <a:lnTo>
                      <a:pt x="35" y="82"/>
                    </a:lnTo>
                    <a:lnTo>
                      <a:pt x="35" y="82"/>
                    </a:lnTo>
                    <a:lnTo>
                      <a:pt x="35" y="81"/>
                    </a:lnTo>
                    <a:lnTo>
                      <a:pt x="34" y="81"/>
                    </a:lnTo>
                    <a:lnTo>
                      <a:pt x="34" y="80"/>
                    </a:lnTo>
                    <a:lnTo>
                      <a:pt x="34" y="80"/>
                    </a:lnTo>
                    <a:lnTo>
                      <a:pt x="35" y="79"/>
                    </a:lnTo>
                    <a:lnTo>
                      <a:pt x="36" y="78"/>
                    </a:lnTo>
                    <a:lnTo>
                      <a:pt x="36" y="77"/>
                    </a:lnTo>
                    <a:lnTo>
                      <a:pt x="37" y="76"/>
                    </a:lnTo>
                    <a:lnTo>
                      <a:pt x="38" y="76"/>
                    </a:lnTo>
                    <a:lnTo>
                      <a:pt x="38" y="75"/>
                    </a:lnTo>
                    <a:lnTo>
                      <a:pt x="39" y="73"/>
                    </a:lnTo>
                    <a:lnTo>
                      <a:pt x="39" y="72"/>
                    </a:lnTo>
                    <a:lnTo>
                      <a:pt x="39" y="71"/>
                    </a:lnTo>
                    <a:lnTo>
                      <a:pt x="40" y="70"/>
                    </a:lnTo>
                    <a:lnTo>
                      <a:pt x="40" y="68"/>
                    </a:lnTo>
                    <a:lnTo>
                      <a:pt x="40" y="67"/>
                    </a:lnTo>
                    <a:lnTo>
                      <a:pt x="40" y="65"/>
                    </a:lnTo>
                    <a:lnTo>
                      <a:pt x="40" y="64"/>
                    </a:lnTo>
                    <a:lnTo>
                      <a:pt x="40" y="62"/>
                    </a:lnTo>
                    <a:lnTo>
                      <a:pt x="40" y="60"/>
                    </a:lnTo>
                    <a:lnTo>
                      <a:pt x="40" y="59"/>
                    </a:lnTo>
                    <a:lnTo>
                      <a:pt x="39" y="58"/>
                    </a:lnTo>
                    <a:lnTo>
                      <a:pt x="39" y="57"/>
                    </a:lnTo>
                    <a:lnTo>
                      <a:pt x="38" y="57"/>
                    </a:lnTo>
                    <a:lnTo>
                      <a:pt x="37" y="56"/>
                    </a:lnTo>
                    <a:lnTo>
                      <a:pt x="36" y="56"/>
                    </a:lnTo>
                    <a:lnTo>
                      <a:pt x="35" y="55"/>
                    </a:lnTo>
                    <a:lnTo>
                      <a:pt x="34" y="54"/>
                    </a:lnTo>
                    <a:lnTo>
                      <a:pt x="33" y="54"/>
                    </a:lnTo>
                    <a:lnTo>
                      <a:pt x="33" y="53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32" y="51"/>
                    </a:lnTo>
                    <a:lnTo>
                      <a:pt x="31" y="50"/>
                    </a:lnTo>
                    <a:lnTo>
                      <a:pt x="31" y="49"/>
                    </a:lnTo>
                    <a:lnTo>
                      <a:pt x="31" y="44"/>
                    </a:lnTo>
                    <a:lnTo>
                      <a:pt x="31" y="40"/>
                    </a:lnTo>
                    <a:lnTo>
                      <a:pt x="31" y="35"/>
                    </a:lnTo>
                    <a:lnTo>
                      <a:pt x="31" y="31"/>
                    </a:lnTo>
                    <a:lnTo>
                      <a:pt x="31" y="30"/>
                    </a:lnTo>
                    <a:lnTo>
                      <a:pt x="31" y="29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29" y="27"/>
                    </a:lnTo>
                    <a:lnTo>
                      <a:pt x="28" y="27"/>
                    </a:lnTo>
                    <a:lnTo>
                      <a:pt x="27" y="26"/>
                    </a:lnTo>
                    <a:lnTo>
                      <a:pt x="27" y="25"/>
                    </a:lnTo>
                    <a:lnTo>
                      <a:pt x="26" y="24"/>
                    </a:lnTo>
                    <a:lnTo>
                      <a:pt x="26" y="24"/>
                    </a:lnTo>
                    <a:lnTo>
                      <a:pt x="25" y="23"/>
                    </a:lnTo>
                    <a:lnTo>
                      <a:pt x="25" y="22"/>
                    </a:lnTo>
                    <a:lnTo>
                      <a:pt x="25" y="21"/>
                    </a:lnTo>
                    <a:lnTo>
                      <a:pt x="24" y="21"/>
                    </a:lnTo>
                    <a:lnTo>
                      <a:pt x="25" y="20"/>
                    </a:lnTo>
                    <a:lnTo>
                      <a:pt x="25" y="20"/>
                    </a:lnTo>
                    <a:lnTo>
                      <a:pt x="25" y="19"/>
                    </a:lnTo>
                    <a:lnTo>
                      <a:pt x="25" y="18"/>
                    </a:lnTo>
                    <a:lnTo>
                      <a:pt x="25" y="17"/>
                    </a:lnTo>
                    <a:lnTo>
                      <a:pt x="26" y="15"/>
                    </a:lnTo>
                    <a:lnTo>
                      <a:pt x="26" y="13"/>
                    </a:lnTo>
                    <a:lnTo>
                      <a:pt x="27" y="11"/>
                    </a:lnTo>
                    <a:lnTo>
                      <a:pt x="27" y="9"/>
                    </a:lnTo>
                    <a:lnTo>
                      <a:pt x="28" y="8"/>
                    </a:lnTo>
                    <a:lnTo>
                      <a:pt x="28" y="7"/>
                    </a:lnTo>
                    <a:lnTo>
                      <a:pt x="28" y="6"/>
                    </a:lnTo>
                    <a:lnTo>
                      <a:pt x="28" y="5"/>
                    </a:lnTo>
                    <a:lnTo>
                      <a:pt x="28" y="4"/>
                    </a:lnTo>
                    <a:lnTo>
                      <a:pt x="28" y="2"/>
                    </a:lnTo>
                    <a:lnTo>
                      <a:pt x="30" y="2"/>
                    </a:lnTo>
                    <a:lnTo>
                      <a:pt x="32" y="1"/>
                    </a:lnTo>
                    <a:lnTo>
                      <a:pt x="34" y="1"/>
                    </a:lnTo>
                    <a:lnTo>
                      <a:pt x="37" y="0"/>
                    </a:lnTo>
                    <a:lnTo>
                      <a:pt x="39" y="0"/>
                    </a:lnTo>
                    <a:lnTo>
                      <a:pt x="42" y="0"/>
                    </a:lnTo>
                    <a:lnTo>
                      <a:pt x="44" y="0"/>
                    </a:lnTo>
                    <a:lnTo>
                      <a:pt x="47" y="0"/>
                    </a:lnTo>
                    <a:lnTo>
                      <a:pt x="52" y="0"/>
                    </a:lnTo>
                    <a:lnTo>
                      <a:pt x="58" y="1"/>
                    </a:lnTo>
                    <a:lnTo>
                      <a:pt x="60" y="1"/>
                    </a:lnTo>
                    <a:lnTo>
                      <a:pt x="63" y="1"/>
                    </a:lnTo>
                    <a:lnTo>
                      <a:pt x="66" y="1"/>
                    </a:lnTo>
                    <a:lnTo>
                      <a:pt x="68" y="0"/>
                    </a:lnTo>
                    <a:lnTo>
                      <a:pt x="69" y="1"/>
                    </a:lnTo>
                    <a:lnTo>
                      <a:pt x="69" y="1"/>
                    </a:lnTo>
                    <a:lnTo>
                      <a:pt x="70" y="1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1" y="3"/>
                    </a:lnTo>
                    <a:lnTo>
                      <a:pt x="71" y="3"/>
                    </a:lnTo>
                    <a:lnTo>
                      <a:pt x="71" y="4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defTabSz="914308">
                  <a:defRPr/>
                </a:pPr>
                <a:endParaRPr lang="en-US" sz="9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0" name="Freeform 14"/>
              <p:cNvSpPr>
                <a:spLocks/>
              </p:cNvSpPr>
              <p:nvPr/>
            </p:nvSpPr>
            <p:spPr bwMode="auto">
              <a:xfrm>
                <a:off x="4005206" y="1924312"/>
                <a:ext cx="867295" cy="1084572"/>
              </a:xfrm>
              <a:custGeom>
                <a:avLst/>
                <a:gdLst/>
                <a:ahLst/>
                <a:cxnLst>
                  <a:cxn ang="0">
                    <a:pos x="111" y="79"/>
                  </a:cxn>
                  <a:cxn ang="0">
                    <a:pos x="102" y="88"/>
                  </a:cxn>
                  <a:cxn ang="0">
                    <a:pos x="98" y="95"/>
                  </a:cxn>
                  <a:cxn ang="0">
                    <a:pos x="99" y="104"/>
                  </a:cxn>
                  <a:cxn ang="0">
                    <a:pos x="107" y="113"/>
                  </a:cxn>
                  <a:cxn ang="0">
                    <a:pos x="109" y="121"/>
                  </a:cxn>
                  <a:cxn ang="0">
                    <a:pos x="105" y="126"/>
                  </a:cxn>
                  <a:cxn ang="0">
                    <a:pos x="96" y="128"/>
                  </a:cxn>
                  <a:cxn ang="0">
                    <a:pos x="91" y="118"/>
                  </a:cxn>
                  <a:cxn ang="0">
                    <a:pos x="82" y="112"/>
                  </a:cxn>
                  <a:cxn ang="0">
                    <a:pos x="74" y="113"/>
                  </a:cxn>
                  <a:cxn ang="0">
                    <a:pos x="69" y="120"/>
                  </a:cxn>
                  <a:cxn ang="0">
                    <a:pos x="64" y="126"/>
                  </a:cxn>
                  <a:cxn ang="0">
                    <a:pos x="50" y="128"/>
                  </a:cxn>
                  <a:cxn ang="0">
                    <a:pos x="45" y="133"/>
                  </a:cxn>
                  <a:cxn ang="0">
                    <a:pos x="43" y="135"/>
                  </a:cxn>
                  <a:cxn ang="0">
                    <a:pos x="41" y="130"/>
                  </a:cxn>
                  <a:cxn ang="0">
                    <a:pos x="40" y="126"/>
                  </a:cxn>
                  <a:cxn ang="0">
                    <a:pos x="34" y="122"/>
                  </a:cxn>
                  <a:cxn ang="0">
                    <a:pos x="21" y="119"/>
                  </a:cxn>
                  <a:cxn ang="0">
                    <a:pos x="19" y="113"/>
                  </a:cxn>
                  <a:cxn ang="0">
                    <a:pos x="18" y="108"/>
                  </a:cxn>
                  <a:cxn ang="0">
                    <a:pos x="15" y="106"/>
                  </a:cxn>
                  <a:cxn ang="0">
                    <a:pos x="14" y="102"/>
                  </a:cxn>
                  <a:cxn ang="0">
                    <a:pos x="11" y="98"/>
                  </a:cxn>
                  <a:cxn ang="0">
                    <a:pos x="14" y="96"/>
                  </a:cxn>
                  <a:cxn ang="0">
                    <a:pos x="14" y="89"/>
                  </a:cxn>
                  <a:cxn ang="0">
                    <a:pos x="16" y="82"/>
                  </a:cxn>
                  <a:cxn ang="0">
                    <a:pos x="18" y="73"/>
                  </a:cxn>
                  <a:cxn ang="0">
                    <a:pos x="16" y="64"/>
                  </a:cxn>
                  <a:cxn ang="0">
                    <a:pos x="12" y="59"/>
                  </a:cxn>
                  <a:cxn ang="0">
                    <a:pos x="6" y="56"/>
                  </a:cxn>
                  <a:cxn ang="0">
                    <a:pos x="5" y="55"/>
                  </a:cxn>
                  <a:cxn ang="0">
                    <a:pos x="4" y="50"/>
                  </a:cxn>
                  <a:cxn ang="0">
                    <a:pos x="0" y="48"/>
                  </a:cxn>
                  <a:cxn ang="0">
                    <a:pos x="1" y="43"/>
                  </a:cxn>
                  <a:cxn ang="0">
                    <a:pos x="3" y="38"/>
                  </a:cxn>
                  <a:cxn ang="0">
                    <a:pos x="2" y="35"/>
                  </a:cxn>
                  <a:cxn ang="0">
                    <a:pos x="4" y="32"/>
                  </a:cxn>
                  <a:cxn ang="0">
                    <a:pos x="10" y="30"/>
                  </a:cxn>
                  <a:cxn ang="0">
                    <a:pos x="14" y="32"/>
                  </a:cxn>
                  <a:cxn ang="0">
                    <a:pos x="18" y="30"/>
                  </a:cxn>
                  <a:cxn ang="0">
                    <a:pos x="24" y="24"/>
                  </a:cxn>
                  <a:cxn ang="0">
                    <a:pos x="33" y="19"/>
                  </a:cxn>
                  <a:cxn ang="0">
                    <a:pos x="36" y="13"/>
                  </a:cxn>
                  <a:cxn ang="0">
                    <a:pos x="44" y="10"/>
                  </a:cxn>
                  <a:cxn ang="0">
                    <a:pos x="48" y="4"/>
                  </a:cxn>
                  <a:cxn ang="0">
                    <a:pos x="54" y="3"/>
                  </a:cxn>
                  <a:cxn ang="0">
                    <a:pos x="59" y="0"/>
                  </a:cxn>
                  <a:cxn ang="0">
                    <a:pos x="61" y="6"/>
                  </a:cxn>
                  <a:cxn ang="0">
                    <a:pos x="58" y="10"/>
                  </a:cxn>
                  <a:cxn ang="0">
                    <a:pos x="55" y="13"/>
                  </a:cxn>
                  <a:cxn ang="0">
                    <a:pos x="60" y="17"/>
                  </a:cxn>
                  <a:cxn ang="0">
                    <a:pos x="70" y="22"/>
                  </a:cxn>
                  <a:cxn ang="0">
                    <a:pos x="77" y="26"/>
                  </a:cxn>
                  <a:cxn ang="0">
                    <a:pos x="101" y="54"/>
                  </a:cxn>
                </a:cxnLst>
                <a:rect l="0" t="0" r="r" b="b"/>
                <a:pathLst>
                  <a:path w="116" h="135">
                    <a:moveTo>
                      <a:pt x="116" y="77"/>
                    </a:moveTo>
                    <a:lnTo>
                      <a:pt x="115" y="77"/>
                    </a:lnTo>
                    <a:lnTo>
                      <a:pt x="115" y="76"/>
                    </a:lnTo>
                    <a:lnTo>
                      <a:pt x="114" y="76"/>
                    </a:lnTo>
                    <a:lnTo>
                      <a:pt x="113" y="77"/>
                    </a:lnTo>
                    <a:lnTo>
                      <a:pt x="112" y="78"/>
                    </a:lnTo>
                    <a:lnTo>
                      <a:pt x="111" y="79"/>
                    </a:lnTo>
                    <a:lnTo>
                      <a:pt x="109" y="80"/>
                    </a:lnTo>
                    <a:lnTo>
                      <a:pt x="108" y="81"/>
                    </a:lnTo>
                    <a:lnTo>
                      <a:pt x="106" y="83"/>
                    </a:lnTo>
                    <a:lnTo>
                      <a:pt x="105" y="84"/>
                    </a:lnTo>
                    <a:lnTo>
                      <a:pt x="104" y="85"/>
                    </a:lnTo>
                    <a:lnTo>
                      <a:pt x="103" y="87"/>
                    </a:lnTo>
                    <a:lnTo>
                      <a:pt x="102" y="88"/>
                    </a:lnTo>
                    <a:lnTo>
                      <a:pt x="101" y="89"/>
                    </a:lnTo>
                    <a:lnTo>
                      <a:pt x="100" y="91"/>
                    </a:lnTo>
                    <a:lnTo>
                      <a:pt x="99" y="92"/>
                    </a:lnTo>
                    <a:lnTo>
                      <a:pt x="99" y="93"/>
                    </a:lnTo>
                    <a:lnTo>
                      <a:pt x="99" y="94"/>
                    </a:lnTo>
                    <a:lnTo>
                      <a:pt x="98" y="94"/>
                    </a:lnTo>
                    <a:lnTo>
                      <a:pt x="98" y="95"/>
                    </a:lnTo>
                    <a:lnTo>
                      <a:pt x="98" y="97"/>
                    </a:lnTo>
                    <a:lnTo>
                      <a:pt x="98" y="98"/>
                    </a:lnTo>
                    <a:lnTo>
                      <a:pt x="98" y="99"/>
                    </a:lnTo>
                    <a:lnTo>
                      <a:pt x="98" y="100"/>
                    </a:lnTo>
                    <a:lnTo>
                      <a:pt x="98" y="101"/>
                    </a:lnTo>
                    <a:lnTo>
                      <a:pt x="99" y="103"/>
                    </a:lnTo>
                    <a:lnTo>
                      <a:pt x="99" y="104"/>
                    </a:lnTo>
                    <a:lnTo>
                      <a:pt x="100" y="105"/>
                    </a:lnTo>
                    <a:lnTo>
                      <a:pt x="101" y="106"/>
                    </a:lnTo>
                    <a:lnTo>
                      <a:pt x="103" y="107"/>
                    </a:lnTo>
                    <a:lnTo>
                      <a:pt x="105" y="109"/>
                    </a:lnTo>
                    <a:lnTo>
                      <a:pt x="106" y="110"/>
                    </a:lnTo>
                    <a:lnTo>
                      <a:pt x="107" y="111"/>
                    </a:lnTo>
                    <a:lnTo>
                      <a:pt x="107" y="113"/>
                    </a:lnTo>
                    <a:lnTo>
                      <a:pt x="108" y="114"/>
                    </a:lnTo>
                    <a:lnTo>
                      <a:pt x="109" y="115"/>
                    </a:lnTo>
                    <a:lnTo>
                      <a:pt x="109" y="116"/>
                    </a:lnTo>
                    <a:lnTo>
                      <a:pt x="110" y="118"/>
                    </a:lnTo>
                    <a:lnTo>
                      <a:pt x="110" y="119"/>
                    </a:lnTo>
                    <a:lnTo>
                      <a:pt x="110" y="120"/>
                    </a:lnTo>
                    <a:lnTo>
                      <a:pt x="109" y="121"/>
                    </a:lnTo>
                    <a:lnTo>
                      <a:pt x="109" y="122"/>
                    </a:lnTo>
                    <a:lnTo>
                      <a:pt x="108" y="123"/>
                    </a:lnTo>
                    <a:lnTo>
                      <a:pt x="108" y="124"/>
                    </a:lnTo>
                    <a:lnTo>
                      <a:pt x="107" y="124"/>
                    </a:lnTo>
                    <a:lnTo>
                      <a:pt x="106" y="125"/>
                    </a:lnTo>
                    <a:lnTo>
                      <a:pt x="105" y="126"/>
                    </a:lnTo>
                    <a:lnTo>
                      <a:pt x="105" y="126"/>
                    </a:lnTo>
                    <a:lnTo>
                      <a:pt x="104" y="127"/>
                    </a:lnTo>
                    <a:lnTo>
                      <a:pt x="103" y="127"/>
                    </a:lnTo>
                    <a:lnTo>
                      <a:pt x="102" y="128"/>
                    </a:lnTo>
                    <a:lnTo>
                      <a:pt x="100" y="128"/>
                    </a:lnTo>
                    <a:lnTo>
                      <a:pt x="99" y="128"/>
                    </a:lnTo>
                    <a:lnTo>
                      <a:pt x="98" y="128"/>
                    </a:lnTo>
                    <a:lnTo>
                      <a:pt x="96" y="128"/>
                    </a:lnTo>
                    <a:lnTo>
                      <a:pt x="95" y="128"/>
                    </a:lnTo>
                    <a:lnTo>
                      <a:pt x="94" y="126"/>
                    </a:lnTo>
                    <a:lnTo>
                      <a:pt x="94" y="125"/>
                    </a:lnTo>
                    <a:lnTo>
                      <a:pt x="93" y="123"/>
                    </a:lnTo>
                    <a:lnTo>
                      <a:pt x="93" y="121"/>
                    </a:lnTo>
                    <a:lnTo>
                      <a:pt x="92" y="120"/>
                    </a:lnTo>
                    <a:lnTo>
                      <a:pt x="91" y="118"/>
                    </a:lnTo>
                    <a:lnTo>
                      <a:pt x="90" y="117"/>
                    </a:lnTo>
                    <a:lnTo>
                      <a:pt x="89" y="116"/>
                    </a:lnTo>
                    <a:lnTo>
                      <a:pt x="88" y="115"/>
                    </a:lnTo>
                    <a:lnTo>
                      <a:pt x="87" y="114"/>
                    </a:lnTo>
                    <a:lnTo>
                      <a:pt x="85" y="113"/>
                    </a:lnTo>
                    <a:lnTo>
                      <a:pt x="84" y="113"/>
                    </a:lnTo>
                    <a:lnTo>
                      <a:pt x="82" y="112"/>
                    </a:lnTo>
                    <a:lnTo>
                      <a:pt x="80" y="112"/>
                    </a:lnTo>
                    <a:lnTo>
                      <a:pt x="78" y="112"/>
                    </a:lnTo>
                    <a:lnTo>
                      <a:pt x="76" y="111"/>
                    </a:lnTo>
                    <a:lnTo>
                      <a:pt x="76" y="112"/>
                    </a:lnTo>
                    <a:lnTo>
                      <a:pt x="75" y="112"/>
                    </a:lnTo>
                    <a:lnTo>
                      <a:pt x="75" y="112"/>
                    </a:lnTo>
                    <a:lnTo>
                      <a:pt x="74" y="113"/>
                    </a:lnTo>
                    <a:lnTo>
                      <a:pt x="73" y="113"/>
                    </a:lnTo>
                    <a:lnTo>
                      <a:pt x="72" y="114"/>
                    </a:lnTo>
                    <a:lnTo>
                      <a:pt x="71" y="115"/>
                    </a:lnTo>
                    <a:lnTo>
                      <a:pt x="71" y="116"/>
                    </a:lnTo>
                    <a:lnTo>
                      <a:pt x="70" y="118"/>
                    </a:lnTo>
                    <a:lnTo>
                      <a:pt x="70" y="119"/>
                    </a:lnTo>
                    <a:lnTo>
                      <a:pt x="69" y="120"/>
                    </a:lnTo>
                    <a:lnTo>
                      <a:pt x="68" y="121"/>
                    </a:lnTo>
                    <a:lnTo>
                      <a:pt x="68" y="122"/>
                    </a:lnTo>
                    <a:lnTo>
                      <a:pt x="67" y="123"/>
                    </a:lnTo>
                    <a:lnTo>
                      <a:pt x="66" y="124"/>
                    </a:lnTo>
                    <a:lnTo>
                      <a:pt x="65" y="125"/>
                    </a:lnTo>
                    <a:lnTo>
                      <a:pt x="64" y="126"/>
                    </a:lnTo>
                    <a:lnTo>
                      <a:pt x="64" y="126"/>
                    </a:lnTo>
                    <a:lnTo>
                      <a:pt x="63" y="126"/>
                    </a:lnTo>
                    <a:lnTo>
                      <a:pt x="53" y="126"/>
                    </a:lnTo>
                    <a:lnTo>
                      <a:pt x="53" y="126"/>
                    </a:lnTo>
                    <a:lnTo>
                      <a:pt x="52" y="127"/>
                    </a:lnTo>
                    <a:lnTo>
                      <a:pt x="52" y="127"/>
                    </a:lnTo>
                    <a:lnTo>
                      <a:pt x="51" y="127"/>
                    </a:lnTo>
                    <a:lnTo>
                      <a:pt x="50" y="128"/>
                    </a:lnTo>
                    <a:lnTo>
                      <a:pt x="50" y="128"/>
                    </a:lnTo>
                    <a:lnTo>
                      <a:pt x="49" y="129"/>
                    </a:lnTo>
                    <a:lnTo>
                      <a:pt x="48" y="130"/>
                    </a:lnTo>
                    <a:lnTo>
                      <a:pt x="47" y="131"/>
                    </a:lnTo>
                    <a:lnTo>
                      <a:pt x="47" y="132"/>
                    </a:lnTo>
                    <a:lnTo>
                      <a:pt x="46" y="133"/>
                    </a:lnTo>
                    <a:lnTo>
                      <a:pt x="45" y="133"/>
                    </a:lnTo>
                    <a:lnTo>
                      <a:pt x="44" y="134"/>
                    </a:lnTo>
                    <a:lnTo>
                      <a:pt x="44" y="135"/>
                    </a:lnTo>
                    <a:lnTo>
                      <a:pt x="44" y="135"/>
                    </a:lnTo>
                    <a:lnTo>
                      <a:pt x="43" y="135"/>
                    </a:lnTo>
                    <a:lnTo>
                      <a:pt x="43" y="135"/>
                    </a:lnTo>
                    <a:lnTo>
                      <a:pt x="43" y="135"/>
                    </a:lnTo>
                    <a:lnTo>
                      <a:pt x="43" y="135"/>
                    </a:lnTo>
                    <a:lnTo>
                      <a:pt x="42" y="135"/>
                    </a:lnTo>
                    <a:lnTo>
                      <a:pt x="42" y="135"/>
                    </a:lnTo>
                    <a:lnTo>
                      <a:pt x="42" y="135"/>
                    </a:lnTo>
                    <a:lnTo>
                      <a:pt x="41" y="135"/>
                    </a:lnTo>
                    <a:lnTo>
                      <a:pt x="41" y="133"/>
                    </a:lnTo>
                    <a:lnTo>
                      <a:pt x="41" y="131"/>
                    </a:lnTo>
                    <a:lnTo>
                      <a:pt x="41" y="130"/>
                    </a:lnTo>
                    <a:lnTo>
                      <a:pt x="41" y="128"/>
                    </a:lnTo>
                    <a:lnTo>
                      <a:pt x="42" y="128"/>
                    </a:lnTo>
                    <a:lnTo>
                      <a:pt x="41" y="127"/>
                    </a:lnTo>
                    <a:lnTo>
                      <a:pt x="41" y="127"/>
                    </a:lnTo>
                    <a:lnTo>
                      <a:pt x="41" y="127"/>
                    </a:lnTo>
                    <a:lnTo>
                      <a:pt x="41" y="127"/>
                    </a:lnTo>
                    <a:lnTo>
                      <a:pt x="40" y="126"/>
                    </a:lnTo>
                    <a:lnTo>
                      <a:pt x="40" y="126"/>
                    </a:lnTo>
                    <a:lnTo>
                      <a:pt x="40" y="126"/>
                    </a:lnTo>
                    <a:lnTo>
                      <a:pt x="39" y="125"/>
                    </a:lnTo>
                    <a:lnTo>
                      <a:pt x="38" y="125"/>
                    </a:lnTo>
                    <a:lnTo>
                      <a:pt x="37" y="124"/>
                    </a:lnTo>
                    <a:lnTo>
                      <a:pt x="35" y="123"/>
                    </a:lnTo>
                    <a:lnTo>
                      <a:pt x="34" y="122"/>
                    </a:lnTo>
                    <a:lnTo>
                      <a:pt x="33" y="122"/>
                    </a:lnTo>
                    <a:lnTo>
                      <a:pt x="32" y="121"/>
                    </a:lnTo>
                    <a:lnTo>
                      <a:pt x="30" y="121"/>
                    </a:lnTo>
                    <a:lnTo>
                      <a:pt x="29" y="120"/>
                    </a:lnTo>
                    <a:lnTo>
                      <a:pt x="27" y="120"/>
                    </a:lnTo>
                    <a:lnTo>
                      <a:pt x="24" y="119"/>
                    </a:lnTo>
                    <a:lnTo>
                      <a:pt x="21" y="119"/>
                    </a:lnTo>
                    <a:lnTo>
                      <a:pt x="18" y="118"/>
                    </a:lnTo>
                    <a:lnTo>
                      <a:pt x="18" y="117"/>
                    </a:lnTo>
                    <a:lnTo>
                      <a:pt x="19" y="116"/>
                    </a:lnTo>
                    <a:lnTo>
                      <a:pt x="19" y="115"/>
                    </a:lnTo>
                    <a:lnTo>
                      <a:pt x="19" y="115"/>
                    </a:lnTo>
                    <a:lnTo>
                      <a:pt x="19" y="114"/>
                    </a:lnTo>
                    <a:lnTo>
                      <a:pt x="19" y="113"/>
                    </a:lnTo>
                    <a:lnTo>
                      <a:pt x="19" y="112"/>
                    </a:lnTo>
                    <a:lnTo>
                      <a:pt x="19" y="112"/>
                    </a:lnTo>
                    <a:lnTo>
                      <a:pt x="19" y="111"/>
                    </a:lnTo>
                    <a:lnTo>
                      <a:pt x="19" y="110"/>
                    </a:lnTo>
                    <a:lnTo>
                      <a:pt x="19" y="109"/>
                    </a:lnTo>
                    <a:lnTo>
                      <a:pt x="18" y="109"/>
                    </a:lnTo>
                    <a:lnTo>
                      <a:pt x="18" y="108"/>
                    </a:lnTo>
                    <a:lnTo>
                      <a:pt x="17" y="108"/>
                    </a:lnTo>
                    <a:lnTo>
                      <a:pt x="17" y="107"/>
                    </a:lnTo>
                    <a:lnTo>
                      <a:pt x="16" y="106"/>
                    </a:lnTo>
                    <a:lnTo>
                      <a:pt x="16" y="106"/>
                    </a:lnTo>
                    <a:lnTo>
                      <a:pt x="15" y="106"/>
                    </a:lnTo>
                    <a:lnTo>
                      <a:pt x="15" y="106"/>
                    </a:lnTo>
                    <a:lnTo>
                      <a:pt x="15" y="106"/>
                    </a:lnTo>
                    <a:lnTo>
                      <a:pt x="15" y="105"/>
                    </a:lnTo>
                    <a:lnTo>
                      <a:pt x="15" y="105"/>
                    </a:lnTo>
                    <a:lnTo>
                      <a:pt x="15" y="104"/>
                    </a:lnTo>
                    <a:lnTo>
                      <a:pt x="15" y="103"/>
                    </a:lnTo>
                    <a:lnTo>
                      <a:pt x="15" y="103"/>
                    </a:lnTo>
                    <a:lnTo>
                      <a:pt x="14" y="102"/>
                    </a:lnTo>
                    <a:lnTo>
                      <a:pt x="14" y="102"/>
                    </a:lnTo>
                    <a:lnTo>
                      <a:pt x="14" y="102"/>
                    </a:lnTo>
                    <a:lnTo>
                      <a:pt x="13" y="101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99"/>
                    </a:lnTo>
                    <a:lnTo>
                      <a:pt x="12" y="99"/>
                    </a:lnTo>
                    <a:lnTo>
                      <a:pt x="11" y="98"/>
                    </a:lnTo>
                    <a:lnTo>
                      <a:pt x="12" y="98"/>
                    </a:lnTo>
                    <a:lnTo>
                      <a:pt x="12" y="98"/>
                    </a:lnTo>
                    <a:lnTo>
                      <a:pt x="13" y="98"/>
                    </a:lnTo>
                    <a:lnTo>
                      <a:pt x="13" y="97"/>
                    </a:lnTo>
                    <a:lnTo>
                      <a:pt x="14" y="97"/>
                    </a:lnTo>
                    <a:lnTo>
                      <a:pt x="14" y="96"/>
                    </a:lnTo>
                    <a:lnTo>
                      <a:pt x="14" y="96"/>
                    </a:lnTo>
                    <a:lnTo>
                      <a:pt x="14" y="95"/>
                    </a:lnTo>
                    <a:lnTo>
                      <a:pt x="15" y="94"/>
                    </a:lnTo>
                    <a:lnTo>
                      <a:pt x="15" y="94"/>
                    </a:lnTo>
                    <a:lnTo>
                      <a:pt x="15" y="93"/>
                    </a:lnTo>
                    <a:lnTo>
                      <a:pt x="14" y="92"/>
                    </a:lnTo>
                    <a:lnTo>
                      <a:pt x="14" y="90"/>
                    </a:lnTo>
                    <a:lnTo>
                      <a:pt x="14" y="89"/>
                    </a:lnTo>
                    <a:lnTo>
                      <a:pt x="14" y="88"/>
                    </a:lnTo>
                    <a:lnTo>
                      <a:pt x="14" y="87"/>
                    </a:lnTo>
                    <a:lnTo>
                      <a:pt x="15" y="87"/>
                    </a:lnTo>
                    <a:lnTo>
                      <a:pt x="15" y="85"/>
                    </a:lnTo>
                    <a:lnTo>
                      <a:pt x="15" y="84"/>
                    </a:lnTo>
                    <a:lnTo>
                      <a:pt x="16" y="83"/>
                    </a:lnTo>
                    <a:lnTo>
                      <a:pt x="16" y="82"/>
                    </a:lnTo>
                    <a:lnTo>
                      <a:pt x="16" y="81"/>
                    </a:lnTo>
                    <a:lnTo>
                      <a:pt x="17" y="80"/>
                    </a:lnTo>
                    <a:lnTo>
                      <a:pt x="17" y="79"/>
                    </a:lnTo>
                    <a:lnTo>
                      <a:pt x="18" y="78"/>
                    </a:lnTo>
                    <a:lnTo>
                      <a:pt x="18" y="76"/>
                    </a:lnTo>
                    <a:lnTo>
                      <a:pt x="18" y="75"/>
                    </a:lnTo>
                    <a:lnTo>
                      <a:pt x="18" y="73"/>
                    </a:lnTo>
                    <a:lnTo>
                      <a:pt x="18" y="72"/>
                    </a:lnTo>
                    <a:lnTo>
                      <a:pt x="19" y="70"/>
                    </a:lnTo>
                    <a:lnTo>
                      <a:pt x="18" y="68"/>
                    </a:lnTo>
                    <a:lnTo>
                      <a:pt x="18" y="67"/>
                    </a:lnTo>
                    <a:lnTo>
                      <a:pt x="18" y="65"/>
                    </a:lnTo>
                    <a:lnTo>
                      <a:pt x="17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5" y="63"/>
                    </a:lnTo>
                    <a:lnTo>
                      <a:pt x="14" y="62"/>
                    </a:lnTo>
                    <a:lnTo>
                      <a:pt x="14" y="61"/>
                    </a:lnTo>
                    <a:lnTo>
                      <a:pt x="13" y="60"/>
                    </a:lnTo>
                    <a:lnTo>
                      <a:pt x="12" y="59"/>
                    </a:lnTo>
                    <a:lnTo>
                      <a:pt x="12" y="59"/>
                    </a:lnTo>
                    <a:lnTo>
                      <a:pt x="11" y="58"/>
                    </a:lnTo>
                    <a:lnTo>
                      <a:pt x="10" y="58"/>
                    </a:lnTo>
                    <a:lnTo>
                      <a:pt x="9" y="57"/>
                    </a:lnTo>
                    <a:lnTo>
                      <a:pt x="9" y="57"/>
                    </a:lnTo>
                    <a:lnTo>
                      <a:pt x="7" y="57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5"/>
                    </a:lnTo>
                    <a:lnTo>
                      <a:pt x="6" y="55"/>
                    </a:lnTo>
                    <a:lnTo>
                      <a:pt x="6" y="55"/>
                    </a:lnTo>
                    <a:lnTo>
                      <a:pt x="5" y="55"/>
                    </a:lnTo>
                    <a:lnTo>
                      <a:pt x="5" y="55"/>
                    </a:lnTo>
                    <a:lnTo>
                      <a:pt x="5" y="55"/>
                    </a:lnTo>
                    <a:lnTo>
                      <a:pt x="5" y="54"/>
                    </a:lnTo>
                    <a:lnTo>
                      <a:pt x="5" y="53"/>
                    </a:lnTo>
                    <a:lnTo>
                      <a:pt x="5" y="52"/>
                    </a:lnTo>
                    <a:lnTo>
                      <a:pt x="5" y="52"/>
                    </a:lnTo>
                    <a:lnTo>
                      <a:pt x="5" y="51"/>
                    </a:lnTo>
                    <a:lnTo>
                      <a:pt x="4" y="51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3" y="50"/>
                    </a:lnTo>
                    <a:lnTo>
                      <a:pt x="3" y="49"/>
                    </a:lnTo>
                    <a:lnTo>
                      <a:pt x="2" y="49"/>
                    </a:lnTo>
                    <a:lnTo>
                      <a:pt x="1" y="49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7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0" y="45"/>
                    </a:lnTo>
                    <a:lnTo>
                      <a:pt x="0" y="44"/>
                    </a:lnTo>
                    <a:lnTo>
                      <a:pt x="1" y="43"/>
                    </a:lnTo>
                    <a:lnTo>
                      <a:pt x="1" y="43"/>
                    </a:lnTo>
                    <a:lnTo>
                      <a:pt x="1" y="42"/>
                    </a:lnTo>
                    <a:lnTo>
                      <a:pt x="2" y="41"/>
                    </a:lnTo>
                    <a:lnTo>
                      <a:pt x="2" y="41"/>
                    </a:lnTo>
                    <a:lnTo>
                      <a:pt x="3" y="40"/>
                    </a:lnTo>
                    <a:lnTo>
                      <a:pt x="3" y="39"/>
                    </a:lnTo>
                    <a:lnTo>
                      <a:pt x="3" y="39"/>
                    </a:lnTo>
                    <a:lnTo>
                      <a:pt x="3" y="38"/>
                    </a:lnTo>
                    <a:lnTo>
                      <a:pt x="3" y="38"/>
                    </a:lnTo>
                    <a:lnTo>
                      <a:pt x="3" y="37"/>
                    </a:lnTo>
                    <a:lnTo>
                      <a:pt x="3" y="37"/>
                    </a:lnTo>
                    <a:lnTo>
                      <a:pt x="3" y="37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2" y="35"/>
                    </a:lnTo>
                    <a:lnTo>
                      <a:pt x="1" y="35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3" y="33"/>
                    </a:lnTo>
                    <a:lnTo>
                      <a:pt x="4" y="33"/>
                    </a:lnTo>
                    <a:lnTo>
                      <a:pt x="4" y="33"/>
                    </a:lnTo>
                    <a:lnTo>
                      <a:pt x="4" y="32"/>
                    </a:lnTo>
                    <a:lnTo>
                      <a:pt x="5" y="32"/>
                    </a:lnTo>
                    <a:lnTo>
                      <a:pt x="6" y="31"/>
                    </a:lnTo>
                    <a:lnTo>
                      <a:pt x="6" y="31"/>
                    </a:lnTo>
                    <a:lnTo>
                      <a:pt x="7" y="31"/>
                    </a:lnTo>
                    <a:lnTo>
                      <a:pt x="8" y="30"/>
                    </a:lnTo>
                    <a:lnTo>
                      <a:pt x="9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1" y="30"/>
                    </a:lnTo>
                    <a:lnTo>
                      <a:pt x="12" y="30"/>
                    </a:lnTo>
                    <a:lnTo>
                      <a:pt x="13" y="31"/>
                    </a:lnTo>
                    <a:lnTo>
                      <a:pt x="13" y="31"/>
                    </a:lnTo>
                    <a:lnTo>
                      <a:pt x="14" y="31"/>
                    </a:lnTo>
                    <a:lnTo>
                      <a:pt x="14" y="32"/>
                    </a:lnTo>
                    <a:lnTo>
                      <a:pt x="15" y="32"/>
                    </a:lnTo>
                    <a:lnTo>
                      <a:pt x="16" y="33"/>
                    </a:lnTo>
                    <a:lnTo>
                      <a:pt x="16" y="33"/>
                    </a:lnTo>
                    <a:lnTo>
                      <a:pt x="17" y="32"/>
                    </a:lnTo>
                    <a:lnTo>
                      <a:pt x="17" y="31"/>
                    </a:lnTo>
                    <a:lnTo>
                      <a:pt x="17" y="31"/>
                    </a:lnTo>
                    <a:lnTo>
                      <a:pt x="18" y="30"/>
                    </a:lnTo>
                    <a:lnTo>
                      <a:pt x="18" y="29"/>
                    </a:lnTo>
                    <a:lnTo>
                      <a:pt x="19" y="29"/>
                    </a:lnTo>
                    <a:lnTo>
                      <a:pt x="20" y="28"/>
                    </a:lnTo>
                    <a:lnTo>
                      <a:pt x="20" y="27"/>
                    </a:lnTo>
                    <a:lnTo>
                      <a:pt x="21" y="26"/>
                    </a:lnTo>
                    <a:lnTo>
                      <a:pt x="23" y="25"/>
                    </a:lnTo>
                    <a:lnTo>
                      <a:pt x="24" y="24"/>
                    </a:lnTo>
                    <a:lnTo>
                      <a:pt x="26" y="24"/>
                    </a:lnTo>
                    <a:lnTo>
                      <a:pt x="27" y="23"/>
                    </a:lnTo>
                    <a:lnTo>
                      <a:pt x="29" y="22"/>
                    </a:lnTo>
                    <a:lnTo>
                      <a:pt x="30" y="21"/>
                    </a:lnTo>
                    <a:lnTo>
                      <a:pt x="32" y="20"/>
                    </a:lnTo>
                    <a:lnTo>
                      <a:pt x="32" y="19"/>
                    </a:lnTo>
                    <a:lnTo>
                      <a:pt x="33" y="19"/>
                    </a:lnTo>
                    <a:lnTo>
                      <a:pt x="33" y="18"/>
                    </a:lnTo>
                    <a:lnTo>
                      <a:pt x="34" y="17"/>
                    </a:lnTo>
                    <a:lnTo>
                      <a:pt x="34" y="16"/>
                    </a:lnTo>
                    <a:lnTo>
                      <a:pt x="34" y="15"/>
                    </a:lnTo>
                    <a:lnTo>
                      <a:pt x="35" y="14"/>
                    </a:lnTo>
                    <a:lnTo>
                      <a:pt x="35" y="13"/>
                    </a:lnTo>
                    <a:lnTo>
                      <a:pt x="36" y="13"/>
                    </a:lnTo>
                    <a:lnTo>
                      <a:pt x="37" y="13"/>
                    </a:lnTo>
                    <a:lnTo>
                      <a:pt x="38" y="13"/>
                    </a:lnTo>
                    <a:lnTo>
                      <a:pt x="40" y="12"/>
                    </a:lnTo>
                    <a:lnTo>
                      <a:pt x="41" y="12"/>
                    </a:lnTo>
                    <a:lnTo>
                      <a:pt x="42" y="11"/>
                    </a:lnTo>
                    <a:lnTo>
                      <a:pt x="43" y="11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5" y="9"/>
                    </a:lnTo>
                    <a:lnTo>
                      <a:pt x="46" y="8"/>
                    </a:lnTo>
                    <a:lnTo>
                      <a:pt x="46" y="7"/>
                    </a:lnTo>
                    <a:lnTo>
                      <a:pt x="47" y="6"/>
                    </a:lnTo>
                    <a:lnTo>
                      <a:pt x="47" y="5"/>
                    </a:lnTo>
                    <a:lnTo>
                      <a:pt x="48" y="4"/>
                    </a:lnTo>
                    <a:lnTo>
                      <a:pt x="48" y="3"/>
                    </a:lnTo>
                    <a:lnTo>
                      <a:pt x="49" y="3"/>
                    </a:lnTo>
                    <a:lnTo>
                      <a:pt x="50" y="3"/>
                    </a:lnTo>
                    <a:lnTo>
                      <a:pt x="51" y="3"/>
                    </a:lnTo>
                    <a:lnTo>
                      <a:pt x="52" y="3"/>
                    </a:lnTo>
                    <a:lnTo>
                      <a:pt x="53" y="3"/>
                    </a:lnTo>
                    <a:lnTo>
                      <a:pt x="54" y="3"/>
                    </a:lnTo>
                    <a:lnTo>
                      <a:pt x="55" y="2"/>
                    </a:lnTo>
                    <a:lnTo>
                      <a:pt x="55" y="2"/>
                    </a:lnTo>
                    <a:lnTo>
                      <a:pt x="57" y="1"/>
                    </a:lnTo>
                    <a:lnTo>
                      <a:pt x="57" y="1"/>
                    </a:lnTo>
                    <a:lnTo>
                      <a:pt x="58" y="1"/>
                    </a:lnTo>
                    <a:lnTo>
                      <a:pt x="59" y="0"/>
                    </a:lnTo>
                    <a:lnTo>
                      <a:pt x="59" y="0"/>
                    </a:lnTo>
                    <a:lnTo>
                      <a:pt x="60" y="0"/>
                    </a:lnTo>
                    <a:lnTo>
                      <a:pt x="61" y="0"/>
                    </a:lnTo>
                    <a:lnTo>
                      <a:pt x="61" y="2"/>
                    </a:lnTo>
                    <a:lnTo>
                      <a:pt x="61" y="3"/>
                    </a:lnTo>
                    <a:lnTo>
                      <a:pt x="61" y="4"/>
                    </a:lnTo>
                    <a:lnTo>
                      <a:pt x="61" y="5"/>
                    </a:lnTo>
                    <a:lnTo>
                      <a:pt x="61" y="6"/>
                    </a:lnTo>
                    <a:lnTo>
                      <a:pt x="61" y="7"/>
                    </a:lnTo>
                    <a:lnTo>
                      <a:pt x="61" y="8"/>
                    </a:lnTo>
                    <a:lnTo>
                      <a:pt x="60" y="8"/>
                    </a:lnTo>
                    <a:lnTo>
                      <a:pt x="60" y="9"/>
                    </a:lnTo>
                    <a:lnTo>
                      <a:pt x="59" y="9"/>
                    </a:lnTo>
                    <a:lnTo>
                      <a:pt x="59" y="10"/>
                    </a:lnTo>
                    <a:lnTo>
                      <a:pt x="58" y="10"/>
                    </a:lnTo>
                    <a:lnTo>
                      <a:pt x="57" y="10"/>
                    </a:lnTo>
                    <a:lnTo>
                      <a:pt x="56" y="10"/>
                    </a:lnTo>
                    <a:lnTo>
                      <a:pt x="55" y="10"/>
                    </a:lnTo>
                    <a:lnTo>
                      <a:pt x="55" y="10"/>
                    </a:lnTo>
                    <a:lnTo>
                      <a:pt x="55" y="11"/>
                    </a:lnTo>
                    <a:lnTo>
                      <a:pt x="55" y="12"/>
                    </a:lnTo>
                    <a:lnTo>
                      <a:pt x="55" y="13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7" y="15"/>
                    </a:lnTo>
                    <a:lnTo>
                      <a:pt x="58" y="16"/>
                    </a:lnTo>
                    <a:lnTo>
                      <a:pt x="58" y="16"/>
                    </a:lnTo>
                    <a:lnTo>
                      <a:pt x="59" y="17"/>
                    </a:lnTo>
                    <a:lnTo>
                      <a:pt x="60" y="17"/>
                    </a:lnTo>
                    <a:lnTo>
                      <a:pt x="61" y="18"/>
                    </a:lnTo>
                    <a:lnTo>
                      <a:pt x="63" y="19"/>
                    </a:lnTo>
                    <a:lnTo>
                      <a:pt x="65" y="20"/>
                    </a:lnTo>
                    <a:lnTo>
                      <a:pt x="66" y="20"/>
                    </a:lnTo>
                    <a:lnTo>
                      <a:pt x="66" y="21"/>
                    </a:lnTo>
                    <a:lnTo>
                      <a:pt x="68" y="21"/>
                    </a:lnTo>
                    <a:lnTo>
                      <a:pt x="70" y="22"/>
                    </a:lnTo>
                    <a:lnTo>
                      <a:pt x="71" y="23"/>
                    </a:lnTo>
                    <a:lnTo>
                      <a:pt x="72" y="24"/>
                    </a:lnTo>
                    <a:lnTo>
                      <a:pt x="73" y="25"/>
                    </a:lnTo>
                    <a:lnTo>
                      <a:pt x="74" y="25"/>
                    </a:lnTo>
                    <a:lnTo>
                      <a:pt x="75" y="26"/>
                    </a:lnTo>
                    <a:lnTo>
                      <a:pt x="76" y="26"/>
                    </a:lnTo>
                    <a:lnTo>
                      <a:pt x="77" y="26"/>
                    </a:lnTo>
                    <a:lnTo>
                      <a:pt x="78" y="26"/>
                    </a:lnTo>
                    <a:lnTo>
                      <a:pt x="82" y="31"/>
                    </a:lnTo>
                    <a:lnTo>
                      <a:pt x="86" y="35"/>
                    </a:lnTo>
                    <a:lnTo>
                      <a:pt x="90" y="40"/>
                    </a:lnTo>
                    <a:lnTo>
                      <a:pt x="93" y="44"/>
                    </a:lnTo>
                    <a:lnTo>
                      <a:pt x="97" y="49"/>
                    </a:lnTo>
                    <a:lnTo>
                      <a:pt x="101" y="54"/>
                    </a:lnTo>
                    <a:lnTo>
                      <a:pt x="104" y="58"/>
                    </a:lnTo>
                    <a:lnTo>
                      <a:pt x="108" y="63"/>
                    </a:lnTo>
                    <a:lnTo>
                      <a:pt x="115" y="73"/>
                    </a:lnTo>
                    <a:lnTo>
                      <a:pt x="116" y="77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defTabSz="914308">
                  <a:defRPr/>
                </a:pPr>
                <a:endParaRPr lang="en-US" sz="9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1" name="Freeform 15"/>
              <p:cNvSpPr>
                <a:spLocks/>
              </p:cNvSpPr>
              <p:nvPr/>
            </p:nvSpPr>
            <p:spPr bwMode="auto">
              <a:xfrm>
                <a:off x="3006011" y="1780710"/>
                <a:ext cx="1040754" cy="723678"/>
              </a:xfrm>
              <a:custGeom>
                <a:avLst/>
                <a:gdLst/>
                <a:ahLst/>
                <a:cxnLst>
                  <a:cxn ang="0">
                    <a:pos x="134" y="44"/>
                  </a:cxn>
                  <a:cxn ang="0">
                    <a:pos x="132" y="48"/>
                  </a:cxn>
                  <a:cxn ang="0">
                    <a:pos x="131" y="53"/>
                  </a:cxn>
                  <a:cxn ang="0">
                    <a:pos x="136" y="54"/>
                  </a:cxn>
                  <a:cxn ang="0">
                    <a:pos x="135" y="60"/>
                  </a:cxn>
                  <a:cxn ang="0">
                    <a:pos x="137" y="67"/>
                  </a:cxn>
                  <a:cxn ang="0">
                    <a:pos x="139" y="74"/>
                  </a:cxn>
                  <a:cxn ang="0">
                    <a:pos x="128" y="71"/>
                  </a:cxn>
                  <a:cxn ang="0">
                    <a:pos x="123" y="67"/>
                  </a:cxn>
                  <a:cxn ang="0">
                    <a:pos x="114" y="68"/>
                  </a:cxn>
                  <a:cxn ang="0">
                    <a:pos x="106" y="65"/>
                  </a:cxn>
                  <a:cxn ang="0">
                    <a:pos x="94" y="59"/>
                  </a:cxn>
                  <a:cxn ang="0">
                    <a:pos x="76" y="56"/>
                  </a:cxn>
                  <a:cxn ang="0">
                    <a:pos x="65" y="49"/>
                  </a:cxn>
                  <a:cxn ang="0">
                    <a:pos x="59" y="51"/>
                  </a:cxn>
                  <a:cxn ang="0">
                    <a:pos x="44" y="54"/>
                  </a:cxn>
                  <a:cxn ang="0">
                    <a:pos x="41" y="60"/>
                  </a:cxn>
                  <a:cxn ang="0">
                    <a:pos x="42" y="65"/>
                  </a:cxn>
                  <a:cxn ang="0">
                    <a:pos x="45" y="73"/>
                  </a:cxn>
                  <a:cxn ang="0">
                    <a:pos x="31" y="85"/>
                  </a:cxn>
                  <a:cxn ang="0">
                    <a:pos x="23" y="85"/>
                  </a:cxn>
                  <a:cxn ang="0">
                    <a:pos x="14" y="89"/>
                  </a:cxn>
                  <a:cxn ang="0">
                    <a:pos x="2" y="89"/>
                  </a:cxn>
                  <a:cxn ang="0">
                    <a:pos x="1" y="72"/>
                  </a:cxn>
                  <a:cxn ang="0">
                    <a:pos x="7" y="68"/>
                  </a:cxn>
                  <a:cxn ang="0">
                    <a:pos x="7" y="59"/>
                  </a:cxn>
                  <a:cxn ang="0">
                    <a:pos x="6" y="55"/>
                  </a:cxn>
                  <a:cxn ang="0">
                    <a:pos x="6" y="50"/>
                  </a:cxn>
                  <a:cxn ang="0">
                    <a:pos x="5" y="44"/>
                  </a:cxn>
                  <a:cxn ang="0">
                    <a:pos x="7" y="39"/>
                  </a:cxn>
                  <a:cxn ang="0">
                    <a:pos x="5" y="29"/>
                  </a:cxn>
                  <a:cxn ang="0">
                    <a:pos x="10" y="23"/>
                  </a:cxn>
                  <a:cxn ang="0">
                    <a:pos x="15" y="21"/>
                  </a:cxn>
                  <a:cxn ang="0">
                    <a:pos x="20" y="18"/>
                  </a:cxn>
                  <a:cxn ang="0">
                    <a:pos x="24" y="17"/>
                  </a:cxn>
                  <a:cxn ang="0">
                    <a:pos x="30" y="15"/>
                  </a:cxn>
                  <a:cxn ang="0">
                    <a:pos x="37" y="13"/>
                  </a:cxn>
                  <a:cxn ang="0">
                    <a:pos x="42" y="8"/>
                  </a:cxn>
                  <a:cxn ang="0">
                    <a:pos x="48" y="3"/>
                  </a:cxn>
                  <a:cxn ang="0">
                    <a:pos x="53" y="0"/>
                  </a:cxn>
                  <a:cxn ang="0">
                    <a:pos x="57" y="1"/>
                  </a:cxn>
                  <a:cxn ang="0">
                    <a:pos x="62" y="3"/>
                  </a:cxn>
                  <a:cxn ang="0">
                    <a:pos x="70" y="6"/>
                  </a:cxn>
                  <a:cxn ang="0">
                    <a:pos x="73" y="7"/>
                  </a:cxn>
                  <a:cxn ang="0">
                    <a:pos x="78" y="3"/>
                  </a:cxn>
                  <a:cxn ang="0">
                    <a:pos x="82" y="1"/>
                  </a:cxn>
                  <a:cxn ang="0">
                    <a:pos x="85" y="5"/>
                  </a:cxn>
                  <a:cxn ang="0">
                    <a:pos x="86" y="12"/>
                  </a:cxn>
                  <a:cxn ang="0">
                    <a:pos x="89" y="19"/>
                  </a:cxn>
                  <a:cxn ang="0">
                    <a:pos x="88" y="30"/>
                  </a:cxn>
                  <a:cxn ang="0">
                    <a:pos x="92" y="37"/>
                  </a:cxn>
                  <a:cxn ang="0">
                    <a:pos x="103" y="36"/>
                  </a:cxn>
                  <a:cxn ang="0">
                    <a:pos x="107" y="33"/>
                  </a:cxn>
                  <a:cxn ang="0">
                    <a:pos x="110" y="31"/>
                  </a:cxn>
                  <a:cxn ang="0">
                    <a:pos x="114" y="41"/>
                  </a:cxn>
                  <a:cxn ang="0">
                    <a:pos x="119" y="42"/>
                  </a:cxn>
                  <a:cxn ang="0">
                    <a:pos x="121" y="38"/>
                  </a:cxn>
                  <a:cxn ang="0">
                    <a:pos x="127" y="38"/>
                  </a:cxn>
                  <a:cxn ang="0">
                    <a:pos x="131" y="41"/>
                  </a:cxn>
                  <a:cxn ang="0">
                    <a:pos x="135" y="40"/>
                  </a:cxn>
                  <a:cxn ang="0">
                    <a:pos x="139" y="39"/>
                  </a:cxn>
                </a:cxnLst>
                <a:rect l="0" t="0" r="r" b="b"/>
                <a:pathLst>
                  <a:path w="139" h="90">
                    <a:moveTo>
                      <a:pt x="139" y="40"/>
                    </a:moveTo>
                    <a:lnTo>
                      <a:pt x="139" y="40"/>
                    </a:lnTo>
                    <a:lnTo>
                      <a:pt x="139" y="40"/>
                    </a:lnTo>
                    <a:lnTo>
                      <a:pt x="139" y="41"/>
                    </a:lnTo>
                    <a:lnTo>
                      <a:pt x="139" y="41"/>
                    </a:lnTo>
                    <a:lnTo>
                      <a:pt x="138" y="41"/>
                    </a:lnTo>
                    <a:lnTo>
                      <a:pt x="137" y="41"/>
                    </a:lnTo>
                    <a:lnTo>
                      <a:pt x="136" y="42"/>
                    </a:lnTo>
                    <a:lnTo>
                      <a:pt x="135" y="42"/>
                    </a:lnTo>
                    <a:lnTo>
                      <a:pt x="135" y="43"/>
                    </a:lnTo>
                    <a:lnTo>
                      <a:pt x="134" y="43"/>
                    </a:lnTo>
                    <a:lnTo>
                      <a:pt x="134" y="44"/>
                    </a:lnTo>
                    <a:lnTo>
                      <a:pt x="134" y="44"/>
                    </a:lnTo>
                    <a:lnTo>
                      <a:pt x="133" y="44"/>
                    </a:lnTo>
                    <a:lnTo>
                      <a:pt x="133" y="44"/>
                    </a:lnTo>
                    <a:lnTo>
                      <a:pt x="133" y="45"/>
                    </a:lnTo>
                    <a:lnTo>
                      <a:pt x="132" y="45"/>
                    </a:lnTo>
                    <a:lnTo>
                      <a:pt x="132" y="45"/>
                    </a:lnTo>
                    <a:lnTo>
                      <a:pt x="132" y="46"/>
                    </a:lnTo>
                    <a:lnTo>
                      <a:pt x="132" y="46"/>
                    </a:lnTo>
                    <a:lnTo>
                      <a:pt x="132" y="47"/>
                    </a:lnTo>
                    <a:lnTo>
                      <a:pt x="132" y="47"/>
                    </a:lnTo>
                    <a:lnTo>
                      <a:pt x="132" y="48"/>
                    </a:lnTo>
                    <a:lnTo>
                      <a:pt x="132" y="48"/>
                    </a:lnTo>
                    <a:lnTo>
                      <a:pt x="132" y="48"/>
                    </a:lnTo>
                    <a:lnTo>
                      <a:pt x="131" y="48"/>
                    </a:lnTo>
                    <a:lnTo>
                      <a:pt x="131" y="48"/>
                    </a:lnTo>
                    <a:lnTo>
                      <a:pt x="131" y="48"/>
                    </a:lnTo>
                    <a:lnTo>
                      <a:pt x="131" y="49"/>
                    </a:lnTo>
                    <a:lnTo>
                      <a:pt x="130" y="49"/>
                    </a:lnTo>
                    <a:lnTo>
                      <a:pt x="130" y="50"/>
                    </a:lnTo>
                    <a:lnTo>
                      <a:pt x="130" y="50"/>
                    </a:lnTo>
                    <a:lnTo>
                      <a:pt x="131" y="51"/>
                    </a:lnTo>
                    <a:lnTo>
                      <a:pt x="131" y="52"/>
                    </a:lnTo>
                    <a:lnTo>
                      <a:pt x="131" y="52"/>
                    </a:lnTo>
                    <a:lnTo>
                      <a:pt x="131" y="53"/>
                    </a:lnTo>
                    <a:lnTo>
                      <a:pt x="132" y="53"/>
                    </a:lnTo>
                    <a:lnTo>
                      <a:pt x="132" y="53"/>
                    </a:lnTo>
                    <a:lnTo>
                      <a:pt x="132" y="53"/>
                    </a:lnTo>
                    <a:lnTo>
                      <a:pt x="133" y="53"/>
                    </a:lnTo>
                    <a:lnTo>
                      <a:pt x="133" y="53"/>
                    </a:lnTo>
                    <a:lnTo>
                      <a:pt x="134" y="53"/>
                    </a:lnTo>
                    <a:lnTo>
                      <a:pt x="134" y="53"/>
                    </a:lnTo>
                    <a:lnTo>
                      <a:pt x="135" y="53"/>
                    </a:lnTo>
                    <a:lnTo>
                      <a:pt x="135" y="53"/>
                    </a:lnTo>
                    <a:lnTo>
                      <a:pt x="135" y="53"/>
                    </a:lnTo>
                    <a:lnTo>
                      <a:pt x="136" y="53"/>
                    </a:lnTo>
                    <a:lnTo>
                      <a:pt x="136" y="54"/>
                    </a:lnTo>
                    <a:lnTo>
                      <a:pt x="136" y="54"/>
                    </a:lnTo>
                    <a:lnTo>
                      <a:pt x="137" y="55"/>
                    </a:lnTo>
                    <a:lnTo>
                      <a:pt x="137" y="55"/>
                    </a:lnTo>
                    <a:lnTo>
                      <a:pt x="137" y="55"/>
                    </a:lnTo>
                    <a:lnTo>
                      <a:pt x="137" y="56"/>
                    </a:lnTo>
                    <a:lnTo>
                      <a:pt x="137" y="56"/>
                    </a:lnTo>
                    <a:lnTo>
                      <a:pt x="137" y="57"/>
                    </a:lnTo>
                    <a:lnTo>
                      <a:pt x="137" y="57"/>
                    </a:lnTo>
                    <a:lnTo>
                      <a:pt x="137" y="58"/>
                    </a:lnTo>
                    <a:lnTo>
                      <a:pt x="136" y="59"/>
                    </a:lnTo>
                    <a:lnTo>
                      <a:pt x="136" y="59"/>
                    </a:lnTo>
                    <a:lnTo>
                      <a:pt x="135" y="60"/>
                    </a:lnTo>
                    <a:lnTo>
                      <a:pt x="135" y="61"/>
                    </a:lnTo>
                    <a:lnTo>
                      <a:pt x="135" y="61"/>
                    </a:lnTo>
                    <a:lnTo>
                      <a:pt x="134" y="62"/>
                    </a:lnTo>
                    <a:lnTo>
                      <a:pt x="134" y="63"/>
                    </a:lnTo>
                    <a:lnTo>
                      <a:pt x="134" y="64"/>
                    </a:lnTo>
                    <a:lnTo>
                      <a:pt x="134" y="64"/>
                    </a:lnTo>
                    <a:lnTo>
                      <a:pt x="134" y="65"/>
                    </a:lnTo>
                    <a:lnTo>
                      <a:pt x="134" y="66"/>
                    </a:lnTo>
                    <a:lnTo>
                      <a:pt x="134" y="66"/>
                    </a:lnTo>
                    <a:lnTo>
                      <a:pt x="135" y="67"/>
                    </a:lnTo>
                    <a:lnTo>
                      <a:pt x="136" y="67"/>
                    </a:lnTo>
                    <a:lnTo>
                      <a:pt x="137" y="67"/>
                    </a:lnTo>
                    <a:lnTo>
                      <a:pt x="137" y="68"/>
                    </a:lnTo>
                    <a:lnTo>
                      <a:pt x="138" y="68"/>
                    </a:lnTo>
                    <a:lnTo>
                      <a:pt x="138" y="68"/>
                    </a:lnTo>
                    <a:lnTo>
                      <a:pt x="138" y="69"/>
                    </a:lnTo>
                    <a:lnTo>
                      <a:pt x="139" y="69"/>
                    </a:lnTo>
                    <a:lnTo>
                      <a:pt x="139" y="70"/>
                    </a:lnTo>
                    <a:lnTo>
                      <a:pt x="139" y="70"/>
                    </a:lnTo>
                    <a:lnTo>
                      <a:pt x="139" y="71"/>
                    </a:lnTo>
                    <a:lnTo>
                      <a:pt x="139" y="72"/>
                    </a:lnTo>
                    <a:lnTo>
                      <a:pt x="139" y="73"/>
                    </a:lnTo>
                    <a:lnTo>
                      <a:pt x="139" y="73"/>
                    </a:lnTo>
                    <a:lnTo>
                      <a:pt x="139" y="74"/>
                    </a:lnTo>
                    <a:lnTo>
                      <a:pt x="139" y="74"/>
                    </a:lnTo>
                    <a:lnTo>
                      <a:pt x="139" y="74"/>
                    </a:lnTo>
                    <a:lnTo>
                      <a:pt x="137" y="75"/>
                    </a:lnTo>
                    <a:lnTo>
                      <a:pt x="136" y="75"/>
                    </a:lnTo>
                    <a:lnTo>
                      <a:pt x="135" y="75"/>
                    </a:lnTo>
                    <a:lnTo>
                      <a:pt x="134" y="74"/>
                    </a:lnTo>
                    <a:lnTo>
                      <a:pt x="133" y="74"/>
                    </a:lnTo>
                    <a:lnTo>
                      <a:pt x="132" y="74"/>
                    </a:lnTo>
                    <a:lnTo>
                      <a:pt x="131" y="73"/>
                    </a:lnTo>
                    <a:lnTo>
                      <a:pt x="130" y="73"/>
                    </a:lnTo>
                    <a:lnTo>
                      <a:pt x="129" y="72"/>
                    </a:lnTo>
                    <a:lnTo>
                      <a:pt x="128" y="71"/>
                    </a:lnTo>
                    <a:lnTo>
                      <a:pt x="127" y="70"/>
                    </a:lnTo>
                    <a:lnTo>
                      <a:pt x="125" y="69"/>
                    </a:lnTo>
                    <a:lnTo>
                      <a:pt x="125" y="68"/>
                    </a:lnTo>
                    <a:lnTo>
                      <a:pt x="124" y="68"/>
                    </a:lnTo>
                    <a:lnTo>
                      <a:pt x="124" y="67"/>
                    </a:lnTo>
                    <a:lnTo>
                      <a:pt x="124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2" y="67"/>
                    </a:lnTo>
                    <a:lnTo>
                      <a:pt x="122" y="67"/>
                    </a:lnTo>
                    <a:lnTo>
                      <a:pt x="122" y="68"/>
                    </a:lnTo>
                    <a:lnTo>
                      <a:pt x="120" y="68"/>
                    </a:lnTo>
                    <a:lnTo>
                      <a:pt x="119" y="68"/>
                    </a:lnTo>
                    <a:lnTo>
                      <a:pt x="117" y="68"/>
                    </a:lnTo>
                    <a:lnTo>
                      <a:pt x="115" y="68"/>
                    </a:lnTo>
                    <a:lnTo>
                      <a:pt x="115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9"/>
                    </a:lnTo>
                    <a:lnTo>
                      <a:pt x="114" y="70"/>
                    </a:lnTo>
                    <a:lnTo>
                      <a:pt x="112" y="70"/>
                    </a:lnTo>
                    <a:lnTo>
                      <a:pt x="110" y="70"/>
                    </a:lnTo>
                    <a:lnTo>
                      <a:pt x="109" y="70"/>
                    </a:lnTo>
                    <a:lnTo>
                      <a:pt x="107" y="70"/>
                    </a:lnTo>
                    <a:lnTo>
                      <a:pt x="107" y="68"/>
                    </a:lnTo>
                    <a:lnTo>
                      <a:pt x="107" y="67"/>
                    </a:lnTo>
                    <a:lnTo>
                      <a:pt x="107" y="66"/>
                    </a:lnTo>
                    <a:lnTo>
                      <a:pt x="106" y="65"/>
                    </a:lnTo>
                    <a:lnTo>
                      <a:pt x="106" y="65"/>
                    </a:lnTo>
                    <a:lnTo>
                      <a:pt x="105" y="64"/>
                    </a:lnTo>
                    <a:lnTo>
                      <a:pt x="105" y="63"/>
                    </a:lnTo>
                    <a:lnTo>
                      <a:pt x="104" y="63"/>
                    </a:lnTo>
                    <a:lnTo>
                      <a:pt x="104" y="62"/>
                    </a:lnTo>
                    <a:lnTo>
                      <a:pt x="103" y="62"/>
                    </a:lnTo>
                    <a:lnTo>
                      <a:pt x="102" y="61"/>
                    </a:lnTo>
                    <a:lnTo>
                      <a:pt x="101" y="61"/>
                    </a:lnTo>
                    <a:lnTo>
                      <a:pt x="101" y="60"/>
                    </a:lnTo>
                    <a:lnTo>
                      <a:pt x="100" y="60"/>
                    </a:lnTo>
                    <a:lnTo>
                      <a:pt x="98" y="60"/>
                    </a:lnTo>
                    <a:lnTo>
                      <a:pt x="96" y="59"/>
                    </a:lnTo>
                    <a:lnTo>
                      <a:pt x="94" y="59"/>
                    </a:lnTo>
                    <a:lnTo>
                      <a:pt x="92" y="59"/>
                    </a:lnTo>
                    <a:lnTo>
                      <a:pt x="89" y="59"/>
                    </a:lnTo>
                    <a:lnTo>
                      <a:pt x="85" y="58"/>
                    </a:lnTo>
                    <a:lnTo>
                      <a:pt x="83" y="58"/>
                    </a:lnTo>
                    <a:lnTo>
                      <a:pt x="80" y="58"/>
                    </a:lnTo>
                    <a:lnTo>
                      <a:pt x="80" y="58"/>
                    </a:lnTo>
                    <a:lnTo>
                      <a:pt x="80" y="58"/>
                    </a:lnTo>
                    <a:lnTo>
                      <a:pt x="79" y="58"/>
                    </a:lnTo>
                    <a:lnTo>
                      <a:pt x="79" y="58"/>
                    </a:lnTo>
                    <a:lnTo>
                      <a:pt x="78" y="57"/>
                    </a:lnTo>
                    <a:lnTo>
                      <a:pt x="77" y="57"/>
                    </a:lnTo>
                    <a:lnTo>
                      <a:pt x="76" y="56"/>
                    </a:lnTo>
                    <a:lnTo>
                      <a:pt x="75" y="55"/>
                    </a:lnTo>
                    <a:lnTo>
                      <a:pt x="74" y="55"/>
                    </a:lnTo>
                    <a:lnTo>
                      <a:pt x="73" y="54"/>
                    </a:lnTo>
                    <a:lnTo>
                      <a:pt x="72" y="53"/>
                    </a:lnTo>
                    <a:lnTo>
                      <a:pt x="72" y="52"/>
                    </a:lnTo>
                    <a:lnTo>
                      <a:pt x="71" y="52"/>
                    </a:lnTo>
                    <a:lnTo>
                      <a:pt x="70" y="51"/>
                    </a:lnTo>
                    <a:lnTo>
                      <a:pt x="69" y="50"/>
                    </a:lnTo>
                    <a:lnTo>
                      <a:pt x="68" y="50"/>
                    </a:lnTo>
                    <a:lnTo>
                      <a:pt x="67" y="50"/>
                    </a:lnTo>
                    <a:lnTo>
                      <a:pt x="66" y="49"/>
                    </a:lnTo>
                    <a:lnTo>
                      <a:pt x="65" y="49"/>
                    </a:lnTo>
                    <a:lnTo>
                      <a:pt x="65" y="49"/>
                    </a:lnTo>
                    <a:lnTo>
                      <a:pt x="64" y="49"/>
                    </a:lnTo>
                    <a:lnTo>
                      <a:pt x="63" y="49"/>
                    </a:lnTo>
                    <a:lnTo>
                      <a:pt x="62" y="50"/>
                    </a:lnTo>
                    <a:lnTo>
                      <a:pt x="62" y="49"/>
                    </a:lnTo>
                    <a:lnTo>
                      <a:pt x="61" y="50"/>
                    </a:lnTo>
                    <a:lnTo>
                      <a:pt x="61" y="50"/>
                    </a:lnTo>
                    <a:lnTo>
                      <a:pt x="61" y="50"/>
                    </a:lnTo>
                    <a:lnTo>
                      <a:pt x="61" y="50"/>
                    </a:lnTo>
                    <a:lnTo>
                      <a:pt x="60" y="51"/>
                    </a:lnTo>
                    <a:lnTo>
                      <a:pt x="60" y="51"/>
                    </a:lnTo>
                    <a:lnTo>
                      <a:pt x="59" y="51"/>
                    </a:lnTo>
                    <a:lnTo>
                      <a:pt x="57" y="51"/>
                    </a:lnTo>
                    <a:lnTo>
                      <a:pt x="56" y="51"/>
                    </a:lnTo>
                    <a:lnTo>
                      <a:pt x="54" y="51"/>
                    </a:lnTo>
                    <a:lnTo>
                      <a:pt x="53" y="51"/>
                    </a:lnTo>
                    <a:lnTo>
                      <a:pt x="52" y="51"/>
                    </a:lnTo>
                    <a:lnTo>
                      <a:pt x="50" y="51"/>
                    </a:lnTo>
                    <a:lnTo>
                      <a:pt x="49" y="52"/>
                    </a:lnTo>
                    <a:lnTo>
                      <a:pt x="48" y="52"/>
                    </a:lnTo>
                    <a:lnTo>
                      <a:pt x="47" y="52"/>
                    </a:lnTo>
                    <a:lnTo>
                      <a:pt x="46" y="53"/>
                    </a:lnTo>
                    <a:lnTo>
                      <a:pt x="45" y="53"/>
                    </a:lnTo>
                    <a:lnTo>
                      <a:pt x="44" y="54"/>
                    </a:lnTo>
                    <a:lnTo>
                      <a:pt x="44" y="55"/>
                    </a:lnTo>
                    <a:lnTo>
                      <a:pt x="43" y="55"/>
                    </a:lnTo>
                    <a:lnTo>
                      <a:pt x="42" y="56"/>
                    </a:lnTo>
                    <a:lnTo>
                      <a:pt x="42" y="57"/>
                    </a:lnTo>
                    <a:lnTo>
                      <a:pt x="42" y="58"/>
                    </a:lnTo>
                    <a:lnTo>
                      <a:pt x="42" y="59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1" y="60"/>
                    </a:lnTo>
                    <a:lnTo>
                      <a:pt x="41" y="60"/>
                    </a:lnTo>
                    <a:lnTo>
                      <a:pt x="41" y="60"/>
                    </a:lnTo>
                    <a:lnTo>
                      <a:pt x="41" y="60"/>
                    </a:lnTo>
                    <a:lnTo>
                      <a:pt x="41" y="60"/>
                    </a:lnTo>
                    <a:lnTo>
                      <a:pt x="41" y="61"/>
                    </a:lnTo>
                    <a:lnTo>
                      <a:pt x="41" y="61"/>
                    </a:lnTo>
                    <a:lnTo>
                      <a:pt x="42" y="61"/>
                    </a:lnTo>
                    <a:lnTo>
                      <a:pt x="42" y="61"/>
                    </a:lnTo>
                    <a:lnTo>
                      <a:pt x="42" y="61"/>
                    </a:lnTo>
                    <a:lnTo>
                      <a:pt x="42" y="62"/>
                    </a:lnTo>
                    <a:lnTo>
                      <a:pt x="42" y="62"/>
                    </a:lnTo>
                    <a:lnTo>
                      <a:pt x="42" y="63"/>
                    </a:lnTo>
                    <a:lnTo>
                      <a:pt x="42" y="64"/>
                    </a:lnTo>
                    <a:lnTo>
                      <a:pt x="42" y="65"/>
                    </a:lnTo>
                    <a:lnTo>
                      <a:pt x="42" y="66"/>
                    </a:lnTo>
                    <a:lnTo>
                      <a:pt x="42" y="67"/>
                    </a:lnTo>
                    <a:lnTo>
                      <a:pt x="43" y="67"/>
                    </a:lnTo>
                    <a:lnTo>
                      <a:pt x="43" y="68"/>
                    </a:lnTo>
                    <a:lnTo>
                      <a:pt x="44" y="69"/>
                    </a:lnTo>
                    <a:lnTo>
                      <a:pt x="44" y="69"/>
                    </a:lnTo>
                    <a:lnTo>
                      <a:pt x="45" y="70"/>
                    </a:lnTo>
                    <a:lnTo>
                      <a:pt x="45" y="71"/>
                    </a:lnTo>
                    <a:lnTo>
                      <a:pt x="45" y="71"/>
                    </a:lnTo>
                    <a:lnTo>
                      <a:pt x="45" y="72"/>
                    </a:lnTo>
                    <a:lnTo>
                      <a:pt x="45" y="73"/>
                    </a:lnTo>
                    <a:lnTo>
                      <a:pt x="45" y="73"/>
                    </a:lnTo>
                    <a:lnTo>
                      <a:pt x="45" y="74"/>
                    </a:lnTo>
                    <a:lnTo>
                      <a:pt x="45" y="74"/>
                    </a:lnTo>
                    <a:lnTo>
                      <a:pt x="45" y="74"/>
                    </a:lnTo>
                    <a:lnTo>
                      <a:pt x="43" y="76"/>
                    </a:lnTo>
                    <a:lnTo>
                      <a:pt x="41" y="78"/>
                    </a:lnTo>
                    <a:lnTo>
                      <a:pt x="39" y="80"/>
                    </a:lnTo>
                    <a:lnTo>
                      <a:pt x="37" y="81"/>
                    </a:lnTo>
                    <a:lnTo>
                      <a:pt x="36" y="82"/>
                    </a:lnTo>
                    <a:lnTo>
                      <a:pt x="35" y="83"/>
                    </a:lnTo>
                    <a:lnTo>
                      <a:pt x="34" y="83"/>
                    </a:lnTo>
                    <a:lnTo>
                      <a:pt x="32" y="84"/>
                    </a:lnTo>
                    <a:lnTo>
                      <a:pt x="31" y="85"/>
                    </a:lnTo>
                    <a:lnTo>
                      <a:pt x="29" y="85"/>
                    </a:lnTo>
                    <a:lnTo>
                      <a:pt x="27" y="85"/>
                    </a:lnTo>
                    <a:lnTo>
                      <a:pt x="26" y="86"/>
                    </a:lnTo>
                    <a:lnTo>
                      <a:pt x="24" y="86"/>
                    </a:lnTo>
                    <a:lnTo>
                      <a:pt x="24" y="86"/>
                    </a:lnTo>
                    <a:lnTo>
                      <a:pt x="24" y="85"/>
                    </a:lnTo>
                    <a:lnTo>
                      <a:pt x="24" y="85"/>
                    </a:lnTo>
                    <a:lnTo>
                      <a:pt x="23" y="85"/>
                    </a:lnTo>
                    <a:lnTo>
                      <a:pt x="23" y="85"/>
                    </a:lnTo>
                    <a:lnTo>
                      <a:pt x="23" y="85"/>
                    </a:lnTo>
                    <a:lnTo>
                      <a:pt x="23" y="85"/>
                    </a:lnTo>
                    <a:lnTo>
                      <a:pt x="23" y="85"/>
                    </a:lnTo>
                    <a:lnTo>
                      <a:pt x="23" y="85"/>
                    </a:lnTo>
                    <a:lnTo>
                      <a:pt x="22" y="85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21" y="86"/>
                    </a:lnTo>
                    <a:lnTo>
                      <a:pt x="21" y="87"/>
                    </a:lnTo>
                    <a:lnTo>
                      <a:pt x="19" y="87"/>
                    </a:lnTo>
                    <a:lnTo>
                      <a:pt x="18" y="88"/>
                    </a:lnTo>
                    <a:lnTo>
                      <a:pt x="17" y="88"/>
                    </a:lnTo>
                    <a:lnTo>
                      <a:pt x="16" y="89"/>
                    </a:lnTo>
                    <a:lnTo>
                      <a:pt x="15" y="89"/>
                    </a:lnTo>
                    <a:lnTo>
                      <a:pt x="14" y="89"/>
                    </a:lnTo>
                    <a:lnTo>
                      <a:pt x="13" y="90"/>
                    </a:lnTo>
                    <a:lnTo>
                      <a:pt x="12" y="90"/>
                    </a:lnTo>
                    <a:lnTo>
                      <a:pt x="11" y="90"/>
                    </a:lnTo>
                    <a:lnTo>
                      <a:pt x="10" y="90"/>
                    </a:lnTo>
                    <a:lnTo>
                      <a:pt x="9" y="90"/>
                    </a:lnTo>
                    <a:lnTo>
                      <a:pt x="7" y="90"/>
                    </a:lnTo>
                    <a:lnTo>
                      <a:pt x="7" y="90"/>
                    </a:lnTo>
                    <a:lnTo>
                      <a:pt x="6" y="90"/>
                    </a:lnTo>
                    <a:lnTo>
                      <a:pt x="5" y="90"/>
                    </a:lnTo>
                    <a:lnTo>
                      <a:pt x="4" y="90"/>
                    </a:lnTo>
                    <a:lnTo>
                      <a:pt x="3" y="90"/>
                    </a:lnTo>
                    <a:lnTo>
                      <a:pt x="2" y="89"/>
                    </a:lnTo>
                    <a:lnTo>
                      <a:pt x="2" y="89"/>
                    </a:lnTo>
                    <a:lnTo>
                      <a:pt x="1" y="88"/>
                    </a:lnTo>
                    <a:lnTo>
                      <a:pt x="1" y="87"/>
                    </a:lnTo>
                    <a:lnTo>
                      <a:pt x="1" y="86"/>
                    </a:lnTo>
                    <a:lnTo>
                      <a:pt x="0" y="85"/>
                    </a:lnTo>
                    <a:lnTo>
                      <a:pt x="0" y="84"/>
                    </a:lnTo>
                    <a:lnTo>
                      <a:pt x="0" y="82"/>
                    </a:lnTo>
                    <a:lnTo>
                      <a:pt x="0" y="81"/>
                    </a:lnTo>
                    <a:lnTo>
                      <a:pt x="0" y="79"/>
                    </a:lnTo>
                    <a:lnTo>
                      <a:pt x="1" y="76"/>
                    </a:lnTo>
                    <a:lnTo>
                      <a:pt x="1" y="74"/>
                    </a:lnTo>
                    <a:lnTo>
                      <a:pt x="1" y="72"/>
                    </a:lnTo>
                    <a:lnTo>
                      <a:pt x="1" y="71"/>
                    </a:lnTo>
                    <a:lnTo>
                      <a:pt x="1" y="71"/>
                    </a:lnTo>
                    <a:lnTo>
                      <a:pt x="2" y="71"/>
                    </a:lnTo>
                    <a:lnTo>
                      <a:pt x="2" y="71"/>
                    </a:lnTo>
                    <a:lnTo>
                      <a:pt x="3" y="71"/>
                    </a:lnTo>
                    <a:lnTo>
                      <a:pt x="3" y="71"/>
                    </a:lnTo>
                    <a:lnTo>
                      <a:pt x="4" y="71"/>
                    </a:lnTo>
                    <a:lnTo>
                      <a:pt x="5" y="71"/>
                    </a:lnTo>
                    <a:lnTo>
                      <a:pt x="5" y="71"/>
                    </a:lnTo>
                    <a:lnTo>
                      <a:pt x="6" y="70"/>
                    </a:lnTo>
                    <a:lnTo>
                      <a:pt x="6" y="69"/>
                    </a:lnTo>
                    <a:lnTo>
                      <a:pt x="7" y="68"/>
                    </a:lnTo>
                    <a:lnTo>
                      <a:pt x="7" y="68"/>
                    </a:lnTo>
                    <a:lnTo>
                      <a:pt x="7" y="67"/>
                    </a:lnTo>
                    <a:lnTo>
                      <a:pt x="8" y="65"/>
                    </a:lnTo>
                    <a:lnTo>
                      <a:pt x="8" y="63"/>
                    </a:lnTo>
                    <a:lnTo>
                      <a:pt x="9" y="62"/>
                    </a:lnTo>
                    <a:lnTo>
                      <a:pt x="9" y="61"/>
                    </a:lnTo>
                    <a:lnTo>
                      <a:pt x="9" y="61"/>
                    </a:lnTo>
                    <a:lnTo>
                      <a:pt x="9" y="60"/>
                    </a:lnTo>
                    <a:lnTo>
                      <a:pt x="9" y="60"/>
                    </a:lnTo>
                    <a:lnTo>
                      <a:pt x="8" y="59"/>
                    </a:lnTo>
                    <a:lnTo>
                      <a:pt x="8" y="59"/>
                    </a:lnTo>
                    <a:lnTo>
                      <a:pt x="7" y="59"/>
                    </a:lnTo>
                    <a:lnTo>
                      <a:pt x="6" y="59"/>
                    </a:lnTo>
                    <a:lnTo>
                      <a:pt x="5" y="58"/>
                    </a:lnTo>
                    <a:lnTo>
                      <a:pt x="5" y="58"/>
                    </a:lnTo>
                    <a:lnTo>
                      <a:pt x="5" y="58"/>
                    </a:lnTo>
                    <a:lnTo>
                      <a:pt x="4" y="58"/>
                    </a:lnTo>
                    <a:lnTo>
                      <a:pt x="4" y="57"/>
                    </a:lnTo>
                    <a:lnTo>
                      <a:pt x="4" y="57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5" y="56"/>
                    </a:lnTo>
                    <a:lnTo>
                      <a:pt x="6" y="55"/>
                    </a:lnTo>
                    <a:lnTo>
                      <a:pt x="6" y="55"/>
                    </a:lnTo>
                    <a:lnTo>
                      <a:pt x="6" y="55"/>
                    </a:lnTo>
                    <a:lnTo>
                      <a:pt x="7" y="54"/>
                    </a:lnTo>
                    <a:lnTo>
                      <a:pt x="7" y="54"/>
                    </a:lnTo>
                    <a:lnTo>
                      <a:pt x="7" y="54"/>
                    </a:lnTo>
                    <a:lnTo>
                      <a:pt x="7" y="53"/>
                    </a:lnTo>
                    <a:lnTo>
                      <a:pt x="7" y="53"/>
                    </a:lnTo>
                    <a:lnTo>
                      <a:pt x="7" y="53"/>
                    </a:lnTo>
                    <a:lnTo>
                      <a:pt x="7" y="52"/>
                    </a:lnTo>
                    <a:lnTo>
                      <a:pt x="7" y="52"/>
                    </a:lnTo>
                    <a:lnTo>
                      <a:pt x="7" y="51"/>
                    </a:lnTo>
                    <a:lnTo>
                      <a:pt x="7" y="51"/>
                    </a:lnTo>
                    <a:lnTo>
                      <a:pt x="6" y="50"/>
                    </a:lnTo>
                    <a:lnTo>
                      <a:pt x="6" y="49"/>
                    </a:lnTo>
                    <a:lnTo>
                      <a:pt x="5" y="48"/>
                    </a:lnTo>
                    <a:lnTo>
                      <a:pt x="4" y="47"/>
                    </a:lnTo>
                    <a:lnTo>
                      <a:pt x="4" y="47"/>
                    </a:lnTo>
                    <a:lnTo>
                      <a:pt x="3" y="46"/>
                    </a:lnTo>
                    <a:lnTo>
                      <a:pt x="3" y="45"/>
                    </a:lnTo>
                    <a:lnTo>
                      <a:pt x="2" y="44"/>
                    </a:lnTo>
                    <a:lnTo>
                      <a:pt x="3" y="45"/>
                    </a:lnTo>
                    <a:lnTo>
                      <a:pt x="3" y="45"/>
                    </a:lnTo>
                    <a:lnTo>
                      <a:pt x="4" y="44"/>
                    </a:lnTo>
                    <a:lnTo>
                      <a:pt x="5" y="44"/>
                    </a:lnTo>
                    <a:lnTo>
                      <a:pt x="5" y="44"/>
                    </a:lnTo>
                    <a:lnTo>
                      <a:pt x="5" y="44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6" y="43"/>
                    </a:lnTo>
                    <a:lnTo>
                      <a:pt x="7" y="43"/>
                    </a:lnTo>
                    <a:lnTo>
                      <a:pt x="7" y="42"/>
                    </a:lnTo>
                    <a:lnTo>
                      <a:pt x="7" y="42"/>
                    </a:lnTo>
                    <a:lnTo>
                      <a:pt x="7" y="41"/>
                    </a:lnTo>
                    <a:lnTo>
                      <a:pt x="7" y="41"/>
                    </a:lnTo>
                    <a:lnTo>
                      <a:pt x="7" y="40"/>
                    </a:lnTo>
                    <a:lnTo>
                      <a:pt x="7" y="40"/>
                    </a:lnTo>
                    <a:lnTo>
                      <a:pt x="7" y="39"/>
                    </a:lnTo>
                    <a:lnTo>
                      <a:pt x="6" y="39"/>
                    </a:lnTo>
                    <a:lnTo>
                      <a:pt x="6" y="38"/>
                    </a:lnTo>
                    <a:lnTo>
                      <a:pt x="6" y="37"/>
                    </a:lnTo>
                    <a:lnTo>
                      <a:pt x="6" y="37"/>
                    </a:lnTo>
                    <a:lnTo>
                      <a:pt x="5" y="36"/>
                    </a:lnTo>
                    <a:lnTo>
                      <a:pt x="5" y="35"/>
                    </a:lnTo>
                    <a:lnTo>
                      <a:pt x="5" y="34"/>
                    </a:lnTo>
                    <a:lnTo>
                      <a:pt x="5" y="33"/>
                    </a:lnTo>
                    <a:lnTo>
                      <a:pt x="5" y="32"/>
                    </a:lnTo>
                    <a:lnTo>
                      <a:pt x="5" y="31"/>
                    </a:lnTo>
                    <a:lnTo>
                      <a:pt x="5" y="30"/>
                    </a:lnTo>
                    <a:lnTo>
                      <a:pt x="5" y="29"/>
                    </a:lnTo>
                    <a:lnTo>
                      <a:pt x="5" y="28"/>
                    </a:lnTo>
                    <a:lnTo>
                      <a:pt x="5" y="27"/>
                    </a:lnTo>
                    <a:lnTo>
                      <a:pt x="5" y="26"/>
                    </a:lnTo>
                    <a:lnTo>
                      <a:pt x="5" y="25"/>
                    </a:lnTo>
                    <a:lnTo>
                      <a:pt x="5" y="25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3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10" y="23"/>
                    </a:lnTo>
                    <a:lnTo>
                      <a:pt x="10" y="23"/>
                    </a:lnTo>
                    <a:lnTo>
                      <a:pt x="10" y="23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1" y="22"/>
                    </a:lnTo>
                    <a:lnTo>
                      <a:pt x="11" y="21"/>
                    </a:lnTo>
                    <a:lnTo>
                      <a:pt x="11" y="21"/>
                    </a:lnTo>
                    <a:lnTo>
                      <a:pt x="12" y="21"/>
                    </a:lnTo>
                    <a:lnTo>
                      <a:pt x="13" y="21"/>
                    </a:lnTo>
                    <a:lnTo>
                      <a:pt x="14" y="21"/>
                    </a:lnTo>
                    <a:lnTo>
                      <a:pt x="14" y="21"/>
                    </a:lnTo>
                    <a:lnTo>
                      <a:pt x="15" y="21"/>
                    </a:lnTo>
                    <a:lnTo>
                      <a:pt x="15" y="21"/>
                    </a:lnTo>
                    <a:lnTo>
                      <a:pt x="15" y="21"/>
                    </a:lnTo>
                    <a:lnTo>
                      <a:pt x="15" y="21"/>
                    </a:lnTo>
                    <a:lnTo>
                      <a:pt x="15" y="20"/>
                    </a:lnTo>
                    <a:lnTo>
                      <a:pt x="15" y="20"/>
                    </a:lnTo>
                    <a:lnTo>
                      <a:pt x="15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7" y="20"/>
                    </a:lnTo>
                    <a:lnTo>
                      <a:pt x="17" y="19"/>
                    </a:lnTo>
                    <a:lnTo>
                      <a:pt x="18" y="19"/>
                    </a:lnTo>
                    <a:lnTo>
                      <a:pt x="19" y="19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1" y="18"/>
                    </a:lnTo>
                    <a:lnTo>
                      <a:pt x="21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4" y="17"/>
                    </a:lnTo>
                    <a:lnTo>
                      <a:pt x="24" y="17"/>
                    </a:lnTo>
                    <a:lnTo>
                      <a:pt x="24" y="17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5" y="16"/>
                    </a:lnTo>
                    <a:lnTo>
                      <a:pt x="25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7" y="15"/>
                    </a:lnTo>
                    <a:lnTo>
                      <a:pt x="28" y="15"/>
                    </a:lnTo>
                    <a:lnTo>
                      <a:pt x="29" y="15"/>
                    </a:lnTo>
                    <a:lnTo>
                      <a:pt x="29" y="15"/>
                    </a:lnTo>
                    <a:lnTo>
                      <a:pt x="29" y="15"/>
                    </a:lnTo>
                    <a:lnTo>
                      <a:pt x="30" y="15"/>
                    </a:lnTo>
                    <a:lnTo>
                      <a:pt x="31" y="15"/>
                    </a:lnTo>
                    <a:lnTo>
                      <a:pt x="32" y="15"/>
                    </a:lnTo>
                    <a:lnTo>
                      <a:pt x="33" y="15"/>
                    </a:lnTo>
                    <a:lnTo>
                      <a:pt x="34" y="15"/>
                    </a:lnTo>
                    <a:lnTo>
                      <a:pt x="35" y="15"/>
                    </a:lnTo>
                    <a:lnTo>
                      <a:pt x="36" y="15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7" y="14"/>
                    </a:lnTo>
                    <a:lnTo>
                      <a:pt x="37" y="14"/>
                    </a:lnTo>
                    <a:lnTo>
                      <a:pt x="37" y="13"/>
                    </a:lnTo>
                    <a:lnTo>
                      <a:pt x="37" y="13"/>
                    </a:lnTo>
                    <a:lnTo>
                      <a:pt x="38" y="13"/>
                    </a:lnTo>
                    <a:lnTo>
                      <a:pt x="38" y="13"/>
                    </a:lnTo>
                    <a:lnTo>
                      <a:pt x="38" y="12"/>
                    </a:lnTo>
                    <a:lnTo>
                      <a:pt x="39" y="12"/>
                    </a:lnTo>
                    <a:lnTo>
                      <a:pt x="39" y="12"/>
                    </a:lnTo>
                    <a:lnTo>
                      <a:pt x="39" y="11"/>
                    </a:lnTo>
                    <a:lnTo>
                      <a:pt x="39" y="10"/>
                    </a:lnTo>
                    <a:lnTo>
                      <a:pt x="39" y="10"/>
                    </a:lnTo>
                    <a:lnTo>
                      <a:pt x="40" y="9"/>
                    </a:lnTo>
                    <a:lnTo>
                      <a:pt x="40" y="9"/>
                    </a:lnTo>
                    <a:lnTo>
                      <a:pt x="41" y="8"/>
                    </a:lnTo>
                    <a:lnTo>
                      <a:pt x="42" y="8"/>
                    </a:lnTo>
                    <a:lnTo>
                      <a:pt x="43" y="7"/>
                    </a:lnTo>
                    <a:lnTo>
                      <a:pt x="43" y="6"/>
                    </a:lnTo>
                    <a:lnTo>
                      <a:pt x="43" y="6"/>
                    </a:lnTo>
                    <a:lnTo>
                      <a:pt x="44" y="5"/>
                    </a:lnTo>
                    <a:lnTo>
                      <a:pt x="44" y="5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46" y="4"/>
                    </a:lnTo>
                    <a:lnTo>
                      <a:pt x="46" y="3"/>
                    </a:lnTo>
                    <a:lnTo>
                      <a:pt x="47" y="3"/>
                    </a:lnTo>
                    <a:lnTo>
                      <a:pt x="47" y="3"/>
                    </a:lnTo>
                    <a:lnTo>
                      <a:pt x="48" y="3"/>
                    </a:lnTo>
                    <a:lnTo>
                      <a:pt x="48" y="3"/>
                    </a:lnTo>
                    <a:lnTo>
                      <a:pt x="48" y="3"/>
                    </a:lnTo>
                    <a:lnTo>
                      <a:pt x="48" y="3"/>
                    </a:lnTo>
                    <a:lnTo>
                      <a:pt x="49" y="2"/>
                    </a:lnTo>
                    <a:lnTo>
                      <a:pt x="49" y="2"/>
                    </a:lnTo>
                    <a:lnTo>
                      <a:pt x="49" y="2"/>
                    </a:lnTo>
                    <a:lnTo>
                      <a:pt x="49" y="1"/>
                    </a:lnTo>
                    <a:lnTo>
                      <a:pt x="50" y="1"/>
                    </a:lnTo>
                    <a:lnTo>
                      <a:pt x="50" y="1"/>
                    </a:lnTo>
                    <a:lnTo>
                      <a:pt x="51" y="0"/>
                    </a:lnTo>
                    <a:lnTo>
                      <a:pt x="52" y="0"/>
                    </a:lnTo>
                    <a:lnTo>
                      <a:pt x="53" y="0"/>
                    </a:lnTo>
                    <a:lnTo>
                      <a:pt x="53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5" y="0"/>
                    </a:lnTo>
                    <a:lnTo>
                      <a:pt x="55" y="0"/>
                    </a:lnTo>
                    <a:lnTo>
                      <a:pt x="55" y="0"/>
                    </a:lnTo>
                    <a:lnTo>
                      <a:pt x="55" y="1"/>
                    </a:lnTo>
                    <a:lnTo>
                      <a:pt x="56" y="1"/>
                    </a:lnTo>
                    <a:lnTo>
                      <a:pt x="56" y="1"/>
                    </a:lnTo>
                    <a:lnTo>
                      <a:pt x="56" y="1"/>
                    </a:lnTo>
                    <a:lnTo>
                      <a:pt x="56" y="1"/>
                    </a:lnTo>
                    <a:lnTo>
                      <a:pt x="57" y="1"/>
                    </a:lnTo>
                    <a:lnTo>
                      <a:pt x="57" y="1"/>
                    </a:lnTo>
                    <a:lnTo>
                      <a:pt x="58" y="1"/>
                    </a:lnTo>
                    <a:lnTo>
                      <a:pt x="59" y="1"/>
                    </a:lnTo>
                    <a:lnTo>
                      <a:pt x="60" y="1"/>
                    </a:lnTo>
                    <a:lnTo>
                      <a:pt x="60" y="1"/>
                    </a:lnTo>
                    <a:lnTo>
                      <a:pt x="60" y="2"/>
                    </a:lnTo>
                    <a:lnTo>
                      <a:pt x="60" y="2"/>
                    </a:lnTo>
                    <a:lnTo>
                      <a:pt x="60" y="2"/>
                    </a:lnTo>
                    <a:lnTo>
                      <a:pt x="61" y="3"/>
                    </a:lnTo>
                    <a:lnTo>
                      <a:pt x="61" y="3"/>
                    </a:lnTo>
                    <a:lnTo>
                      <a:pt x="61" y="3"/>
                    </a:lnTo>
                    <a:lnTo>
                      <a:pt x="62" y="3"/>
                    </a:lnTo>
                    <a:lnTo>
                      <a:pt x="62" y="3"/>
                    </a:lnTo>
                    <a:lnTo>
                      <a:pt x="63" y="3"/>
                    </a:lnTo>
                    <a:lnTo>
                      <a:pt x="64" y="3"/>
                    </a:lnTo>
                    <a:lnTo>
                      <a:pt x="65" y="3"/>
                    </a:lnTo>
                    <a:lnTo>
                      <a:pt x="65" y="3"/>
                    </a:lnTo>
                    <a:lnTo>
                      <a:pt x="66" y="4"/>
                    </a:lnTo>
                    <a:lnTo>
                      <a:pt x="66" y="4"/>
                    </a:lnTo>
                    <a:lnTo>
                      <a:pt x="67" y="5"/>
                    </a:lnTo>
                    <a:lnTo>
                      <a:pt x="68" y="5"/>
                    </a:lnTo>
                    <a:lnTo>
                      <a:pt x="69" y="6"/>
                    </a:lnTo>
                    <a:lnTo>
                      <a:pt x="69" y="6"/>
                    </a:lnTo>
                    <a:lnTo>
                      <a:pt x="70" y="6"/>
                    </a:lnTo>
                    <a:lnTo>
                      <a:pt x="70" y="6"/>
                    </a:lnTo>
                    <a:lnTo>
                      <a:pt x="71" y="6"/>
                    </a:lnTo>
                    <a:lnTo>
                      <a:pt x="72" y="6"/>
                    </a:lnTo>
                    <a:lnTo>
                      <a:pt x="72" y="7"/>
                    </a:lnTo>
                    <a:lnTo>
                      <a:pt x="72" y="7"/>
                    </a:lnTo>
                    <a:lnTo>
                      <a:pt x="72" y="7"/>
                    </a:lnTo>
                    <a:lnTo>
                      <a:pt x="72" y="7"/>
                    </a:lnTo>
                    <a:lnTo>
                      <a:pt x="73" y="7"/>
                    </a:lnTo>
                    <a:lnTo>
                      <a:pt x="73" y="7"/>
                    </a:lnTo>
                    <a:lnTo>
                      <a:pt x="73" y="7"/>
                    </a:lnTo>
                    <a:lnTo>
                      <a:pt x="73" y="7"/>
                    </a:lnTo>
                    <a:lnTo>
                      <a:pt x="73" y="7"/>
                    </a:lnTo>
                    <a:lnTo>
                      <a:pt x="73" y="7"/>
                    </a:lnTo>
                    <a:lnTo>
                      <a:pt x="74" y="7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5" y="6"/>
                    </a:lnTo>
                    <a:lnTo>
                      <a:pt x="75" y="6"/>
                    </a:lnTo>
                    <a:lnTo>
                      <a:pt x="76" y="5"/>
                    </a:lnTo>
                    <a:lnTo>
                      <a:pt x="76" y="5"/>
                    </a:lnTo>
                    <a:lnTo>
                      <a:pt x="77" y="4"/>
                    </a:lnTo>
                    <a:lnTo>
                      <a:pt x="78" y="4"/>
                    </a:lnTo>
                    <a:lnTo>
                      <a:pt x="78" y="3"/>
                    </a:lnTo>
                    <a:lnTo>
                      <a:pt x="78" y="3"/>
                    </a:lnTo>
                    <a:lnTo>
                      <a:pt x="79" y="3"/>
                    </a:lnTo>
                    <a:lnTo>
                      <a:pt x="79" y="3"/>
                    </a:lnTo>
                    <a:lnTo>
                      <a:pt x="80" y="3"/>
                    </a:lnTo>
                    <a:lnTo>
                      <a:pt x="80" y="3"/>
                    </a:lnTo>
                    <a:lnTo>
                      <a:pt x="80" y="3"/>
                    </a:lnTo>
                    <a:lnTo>
                      <a:pt x="80" y="2"/>
                    </a:lnTo>
                    <a:lnTo>
                      <a:pt x="80" y="2"/>
                    </a:lnTo>
                    <a:lnTo>
                      <a:pt x="80" y="2"/>
                    </a:lnTo>
                    <a:lnTo>
                      <a:pt x="80" y="1"/>
                    </a:lnTo>
                    <a:lnTo>
                      <a:pt x="81" y="1"/>
                    </a:lnTo>
                    <a:lnTo>
                      <a:pt x="81" y="1"/>
                    </a:lnTo>
                    <a:lnTo>
                      <a:pt x="82" y="1"/>
                    </a:lnTo>
                    <a:lnTo>
                      <a:pt x="82" y="1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82" y="3"/>
                    </a:lnTo>
                    <a:lnTo>
                      <a:pt x="83" y="3"/>
                    </a:lnTo>
                    <a:lnTo>
                      <a:pt x="83" y="3"/>
                    </a:lnTo>
                    <a:lnTo>
                      <a:pt x="83" y="3"/>
                    </a:lnTo>
                    <a:lnTo>
                      <a:pt x="84" y="3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5" y="5"/>
                    </a:lnTo>
                    <a:lnTo>
                      <a:pt x="85" y="6"/>
                    </a:lnTo>
                    <a:lnTo>
                      <a:pt x="85" y="7"/>
                    </a:lnTo>
                    <a:lnTo>
                      <a:pt x="85" y="7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5" y="9"/>
                    </a:lnTo>
                    <a:lnTo>
                      <a:pt x="85" y="10"/>
                    </a:lnTo>
                    <a:lnTo>
                      <a:pt x="85" y="10"/>
                    </a:lnTo>
                    <a:lnTo>
                      <a:pt x="85" y="11"/>
                    </a:lnTo>
                    <a:lnTo>
                      <a:pt x="85" y="12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6" y="13"/>
                    </a:lnTo>
                    <a:lnTo>
                      <a:pt x="87" y="13"/>
                    </a:lnTo>
                    <a:lnTo>
                      <a:pt x="87" y="13"/>
                    </a:lnTo>
                    <a:lnTo>
                      <a:pt x="87" y="14"/>
                    </a:lnTo>
                    <a:lnTo>
                      <a:pt x="87" y="15"/>
                    </a:lnTo>
                    <a:lnTo>
                      <a:pt x="87" y="15"/>
                    </a:lnTo>
                    <a:lnTo>
                      <a:pt x="87" y="16"/>
                    </a:lnTo>
                    <a:lnTo>
                      <a:pt x="87" y="17"/>
                    </a:lnTo>
                    <a:lnTo>
                      <a:pt x="88" y="17"/>
                    </a:lnTo>
                    <a:lnTo>
                      <a:pt x="88" y="18"/>
                    </a:lnTo>
                    <a:lnTo>
                      <a:pt x="88" y="18"/>
                    </a:lnTo>
                    <a:lnTo>
                      <a:pt x="89" y="19"/>
                    </a:lnTo>
                    <a:lnTo>
                      <a:pt x="89" y="19"/>
                    </a:lnTo>
                    <a:lnTo>
                      <a:pt x="90" y="19"/>
                    </a:lnTo>
                    <a:lnTo>
                      <a:pt x="90" y="20"/>
                    </a:lnTo>
                    <a:lnTo>
                      <a:pt x="90" y="22"/>
                    </a:lnTo>
                    <a:lnTo>
                      <a:pt x="90" y="24"/>
                    </a:lnTo>
                    <a:lnTo>
                      <a:pt x="90" y="26"/>
                    </a:lnTo>
                    <a:lnTo>
                      <a:pt x="90" y="28"/>
                    </a:lnTo>
                    <a:lnTo>
                      <a:pt x="90" y="28"/>
                    </a:lnTo>
                    <a:lnTo>
                      <a:pt x="89" y="28"/>
                    </a:lnTo>
                    <a:lnTo>
                      <a:pt x="89" y="29"/>
                    </a:lnTo>
                    <a:lnTo>
                      <a:pt x="88" y="29"/>
                    </a:lnTo>
                    <a:lnTo>
                      <a:pt x="88" y="30"/>
                    </a:lnTo>
                    <a:lnTo>
                      <a:pt x="88" y="30"/>
                    </a:lnTo>
                    <a:lnTo>
                      <a:pt x="87" y="31"/>
                    </a:lnTo>
                    <a:lnTo>
                      <a:pt x="87" y="31"/>
                    </a:lnTo>
                    <a:lnTo>
                      <a:pt x="87" y="32"/>
                    </a:lnTo>
                    <a:lnTo>
                      <a:pt x="87" y="33"/>
                    </a:lnTo>
                    <a:lnTo>
                      <a:pt x="87" y="34"/>
                    </a:lnTo>
                    <a:lnTo>
                      <a:pt x="87" y="35"/>
                    </a:lnTo>
                    <a:lnTo>
                      <a:pt x="88" y="35"/>
                    </a:lnTo>
                    <a:lnTo>
                      <a:pt x="89" y="36"/>
                    </a:lnTo>
                    <a:lnTo>
                      <a:pt x="90" y="36"/>
                    </a:lnTo>
                    <a:lnTo>
                      <a:pt x="91" y="37"/>
                    </a:lnTo>
                    <a:lnTo>
                      <a:pt x="92" y="37"/>
                    </a:lnTo>
                    <a:lnTo>
                      <a:pt x="93" y="37"/>
                    </a:lnTo>
                    <a:lnTo>
                      <a:pt x="93" y="38"/>
                    </a:lnTo>
                    <a:lnTo>
                      <a:pt x="94" y="38"/>
                    </a:lnTo>
                    <a:lnTo>
                      <a:pt x="95" y="38"/>
                    </a:lnTo>
                    <a:lnTo>
                      <a:pt x="96" y="38"/>
                    </a:lnTo>
                    <a:lnTo>
                      <a:pt x="97" y="37"/>
                    </a:lnTo>
                    <a:lnTo>
                      <a:pt x="98" y="37"/>
                    </a:lnTo>
                    <a:lnTo>
                      <a:pt x="99" y="37"/>
                    </a:lnTo>
                    <a:lnTo>
                      <a:pt x="100" y="37"/>
                    </a:lnTo>
                    <a:lnTo>
                      <a:pt x="102" y="36"/>
                    </a:lnTo>
                    <a:lnTo>
                      <a:pt x="103" y="36"/>
                    </a:lnTo>
                    <a:lnTo>
                      <a:pt x="103" y="36"/>
                    </a:lnTo>
                    <a:lnTo>
                      <a:pt x="103" y="36"/>
                    </a:lnTo>
                    <a:lnTo>
                      <a:pt x="103" y="36"/>
                    </a:lnTo>
                    <a:lnTo>
                      <a:pt x="104" y="36"/>
                    </a:lnTo>
                    <a:lnTo>
                      <a:pt x="104" y="35"/>
                    </a:lnTo>
                    <a:lnTo>
                      <a:pt x="104" y="35"/>
                    </a:lnTo>
                    <a:lnTo>
                      <a:pt x="104" y="35"/>
                    </a:lnTo>
                    <a:lnTo>
                      <a:pt x="104" y="35"/>
                    </a:lnTo>
                    <a:lnTo>
                      <a:pt x="105" y="34"/>
                    </a:lnTo>
                    <a:lnTo>
                      <a:pt x="105" y="34"/>
                    </a:lnTo>
                    <a:lnTo>
                      <a:pt x="106" y="34"/>
                    </a:lnTo>
                    <a:lnTo>
                      <a:pt x="106" y="33"/>
                    </a:lnTo>
                    <a:lnTo>
                      <a:pt x="107" y="33"/>
                    </a:lnTo>
                    <a:lnTo>
                      <a:pt x="107" y="33"/>
                    </a:lnTo>
                    <a:lnTo>
                      <a:pt x="107" y="33"/>
                    </a:lnTo>
                    <a:lnTo>
                      <a:pt x="108" y="33"/>
                    </a:lnTo>
                    <a:lnTo>
                      <a:pt x="108" y="33"/>
                    </a:lnTo>
                    <a:lnTo>
                      <a:pt x="108" y="32"/>
                    </a:lnTo>
                    <a:lnTo>
                      <a:pt x="109" y="32"/>
                    </a:lnTo>
                    <a:lnTo>
                      <a:pt x="109" y="32"/>
                    </a:lnTo>
                    <a:lnTo>
                      <a:pt x="109" y="32"/>
                    </a:lnTo>
                    <a:lnTo>
                      <a:pt x="109" y="31"/>
                    </a:lnTo>
                    <a:lnTo>
                      <a:pt x="109" y="31"/>
                    </a:lnTo>
                    <a:lnTo>
                      <a:pt x="110" y="31"/>
                    </a:lnTo>
                    <a:lnTo>
                      <a:pt x="110" y="31"/>
                    </a:lnTo>
                    <a:lnTo>
                      <a:pt x="111" y="32"/>
                    </a:lnTo>
                    <a:lnTo>
                      <a:pt x="111" y="32"/>
                    </a:lnTo>
                    <a:lnTo>
                      <a:pt x="111" y="32"/>
                    </a:lnTo>
                    <a:lnTo>
                      <a:pt x="112" y="33"/>
                    </a:lnTo>
                    <a:lnTo>
                      <a:pt x="112" y="34"/>
                    </a:lnTo>
                    <a:lnTo>
                      <a:pt x="113" y="35"/>
                    </a:lnTo>
                    <a:lnTo>
                      <a:pt x="113" y="36"/>
                    </a:lnTo>
                    <a:lnTo>
                      <a:pt x="113" y="37"/>
                    </a:lnTo>
                    <a:lnTo>
                      <a:pt x="113" y="38"/>
                    </a:lnTo>
                    <a:lnTo>
                      <a:pt x="114" y="39"/>
                    </a:lnTo>
                    <a:lnTo>
                      <a:pt x="114" y="40"/>
                    </a:lnTo>
                    <a:lnTo>
                      <a:pt x="114" y="41"/>
                    </a:lnTo>
                    <a:lnTo>
                      <a:pt x="115" y="41"/>
                    </a:lnTo>
                    <a:lnTo>
                      <a:pt x="115" y="42"/>
                    </a:lnTo>
                    <a:lnTo>
                      <a:pt x="116" y="42"/>
                    </a:lnTo>
                    <a:lnTo>
                      <a:pt x="116" y="43"/>
                    </a:lnTo>
                    <a:lnTo>
                      <a:pt x="117" y="43"/>
                    </a:lnTo>
                    <a:lnTo>
                      <a:pt x="117" y="43"/>
                    </a:lnTo>
                    <a:lnTo>
                      <a:pt x="117" y="43"/>
                    </a:lnTo>
                    <a:lnTo>
                      <a:pt x="118" y="43"/>
                    </a:lnTo>
                    <a:lnTo>
                      <a:pt x="118" y="43"/>
                    </a:lnTo>
                    <a:lnTo>
                      <a:pt x="118" y="42"/>
                    </a:lnTo>
                    <a:lnTo>
                      <a:pt x="118" y="42"/>
                    </a:lnTo>
                    <a:lnTo>
                      <a:pt x="119" y="42"/>
                    </a:lnTo>
                    <a:lnTo>
                      <a:pt x="119" y="42"/>
                    </a:lnTo>
                    <a:lnTo>
                      <a:pt x="119" y="41"/>
                    </a:lnTo>
                    <a:lnTo>
                      <a:pt x="119" y="41"/>
                    </a:lnTo>
                    <a:lnTo>
                      <a:pt x="120" y="41"/>
                    </a:lnTo>
                    <a:lnTo>
                      <a:pt x="120" y="41"/>
                    </a:lnTo>
                    <a:lnTo>
                      <a:pt x="120" y="40"/>
                    </a:lnTo>
                    <a:lnTo>
                      <a:pt x="120" y="40"/>
                    </a:lnTo>
                    <a:lnTo>
                      <a:pt x="120" y="39"/>
                    </a:lnTo>
                    <a:lnTo>
                      <a:pt x="120" y="39"/>
                    </a:lnTo>
                    <a:lnTo>
                      <a:pt x="120" y="38"/>
                    </a:lnTo>
                    <a:lnTo>
                      <a:pt x="121" y="38"/>
                    </a:lnTo>
                    <a:lnTo>
                      <a:pt x="121" y="38"/>
                    </a:lnTo>
                    <a:lnTo>
                      <a:pt x="122" y="38"/>
                    </a:lnTo>
                    <a:lnTo>
                      <a:pt x="122" y="37"/>
                    </a:lnTo>
                    <a:lnTo>
                      <a:pt x="123" y="37"/>
                    </a:lnTo>
                    <a:lnTo>
                      <a:pt x="123" y="36"/>
                    </a:lnTo>
                    <a:lnTo>
                      <a:pt x="124" y="36"/>
                    </a:lnTo>
                    <a:lnTo>
                      <a:pt x="124" y="36"/>
                    </a:lnTo>
                    <a:lnTo>
                      <a:pt x="125" y="36"/>
                    </a:lnTo>
                    <a:lnTo>
                      <a:pt x="125" y="37"/>
                    </a:lnTo>
                    <a:lnTo>
                      <a:pt x="126" y="37"/>
                    </a:lnTo>
                    <a:lnTo>
                      <a:pt x="126" y="37"/>
                    </a:lnTo>
                    <a:lnTo>
                      <a:pt x="126" y="38"/>
                    </a:lnTo>
                    <a:lnTo>
                      <a:pt x="127" y="38"/>
                    </a:lnTo>
                    <a:lnTo>
                      <a:pt x="127" y="39"/>
                    </a:lnTo>
                    <a:lnTo>
                      <a:pt x="127" y="39"/>
                    </a:lnTo>
                    <a:lnTo>
                      <a:pt x="127" y="39"/>
                    </a:lnTo>
                    <a:lnTo>
                      <a:pt x="128" y="40"/>
                    </a:lnTo>
                    <a:lnTo>
                      <a:pt x="128" y="40"/>
                    </a:lnTo>
                    <a:lnTo>
                      <a:pt x="129" y="40"/>
                    </a:lnTo>
                    <a:lnTo>
                      <a:pt x="130" y="40"/>
                    </a:lnTo>
                    <a:lnTo>
                      <a:pt x="130" y="40"/>
                    </a:lnTo>
                    <a:lnTo>
                      <a:pt x="131" y="40"/>
                    </a:lnTo>
                    <a:lnTo>
                      <a:pt x="131" y="40"/>
                    </a:lnTo>
                    <a:lnTo>
                      <a:pt x="131" y="40"/>
                    </a:lnTo>
                    <a:lnTo>
                      <a:pt x="131" y="41"/>
                    </a:lnTo>
                    <a:lnTo>
                      <a:pt x="132" y="41"/>
                    </a:lnTo>
                    <a:lnTo>
                      <a:pt x="132" y="41"/>
                    </a:lnTo>
                    <a:lnTo>
                      <a:pt x="133" y="41"/>
                    </a:lnTo>
                    <a:lnTo>
                      <a:pt x="133" y="41"/>
                    </a:lnTo>
                    <a:lnTo>
                      <a:pt x="134" y="41"/>
                    </a:lnTo>
                    <a:lnTo>
                      <a:pt x="134" y="41"/>
                    </a:lnTo>
                    <a:lnTo>
                      <a:pt x="134" y="41"/>
                    </a:lnTo>
                    <a:lnTo>
                      <a:pt x="135" y="41"/>
                    </a:lnTo>
                    <a:lnTo>
                      <a:pt x="135" y="40"/>
                    </a:lnTo>
                    <a:lnTo>
                      <a:pt x="135" y="40"/>
                    </a:lnTo>
                    <a:lnTo>
                      <a:pt x="135" y="40"/>
                    </a:lnTo>
                    <a:lnTo>
                      <a:pt x="135" y="40"/>
                    </a:lnTo>
                    <a:lnTo>
                      <a:pt x="136" y="40"/>
                    </a:lnTo>
                    <a:lnTo>
                      <a:pt x="136" y="39"/>
                    </a:lnTo>
                    <a:lnTo>
                      <a:pt x="136" y="39"/>
                    </a:lnTo>
                    <a:lnTo>
                      <a:pt x="137" y="39"/>
                    </a:lnTo>
                    <a:lnTo>
                      <a:pt x="137" y="39"/>
                    </a:lnTo>
                    <a:lnTo>
                      <a:pt x="138" y="39"/>
                    </a:lnTo>
                    <a:lnTo>
                      <a:pt x="138" y="38"/>
                    </a:lnTo>
                    <a:lnTo>
                      <a:pt x="138" y="38"/>
                    </a:lnTo>
                    <a:lnTo>
                      <a:pt x="138" y="39"/>
                    </a:lnTo>
                    <a:lnTo>
                      <a:pt x="138" y="39"/>
                    </a:lnTo>
                    <a:lnTo>
                      <a:pt x="138" y="39"/>
                    </a:lnTo>
                    <a:lnTo>
                      <a:pt x="139" y="39"/>
                    </a:lnTo>
                    <a:lnTo>
                      <a:pt x="139" y="40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defTabSz="914308">
                  <a:defRPr/>
                </a:pPr>
                <a:endParaRPr lang="en-US" sz="9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2" name="Freeform 43"/>
              <p:cNvSpPr>
                <a:spLocks/>
              </p:cNvSpPr>
              <p:nvPr/>
            </p:nvSpPr>
            <p:spPr bwMode="auto">
              <a:xfrm>
                <a:off x="3488369" y="4102903"/>
                <a:ext cx="1044223" cy="922075"/>
              </a:xfrm>
              <a:custGeom>
                <a:avLst/>
                <a:gdLst/>
                <a:ahLst/>
                <a:cxnLst>
                  <a:cxn ang="0">
                    <a:pos x="6" y="56"/>
                  </a:cxn>
                  <a:cxn ang="0">
                    <a:pos x="22" y="84"/>
                  </a:cxn>
                  <a:cxn ang="0">
                    <a:pos x="34" y="123"/>
                  </a:cxn>
                  <a:cxn ang="0">
                    <a:pos x="56" y="162"/>
                  </a:cxn>
                  <a:cxn ang="0">
                    <a:pos x="73" y="224"/>
                  </a:cxn>
                  <a:cxn ang="0">
                    <a:pos x="84" y="269"/>
                  </a:cxn>
                  <a:cxn ang="0">
                    <a:pos x="95" y="314"/>
                  </a:cxn>
                  <a:cxn ang="0">
                    <a:pos x="95" y="359"/>
                  </a:cxn>
                  <a:cxn ang="0">
                    <a:pos x="95" y="409"/>
                  </a:cxn>
                  <a:cxn ang="0">
                    <a:pos x="78" y="454"/>
                  </a:cxn>
                  <a:cxn ang="0">
                    <a:pos x="62" y="493"/>
                  </a:cxn>
                  <a:cxn ang="0">
                    <a:pos x="78" y="515"/>
                  </a:cxn>
                  <a:cxn ang="0">
                    <a:pos x="106" y="538"/>
                  </a:cxn>
                  <a:cxn ang="0">
                    <a:pos x="129" y="555"/>
                  </a:cxn>
                  <a:cxn ang="0">
                    <a:pos x="145" y="577"/>
                  </a:cxn>
                  <a:cxn ang="0">
                    <a:pos x="157" y="600"/>
                  </a:cxn>
                  <a:cxn ang="0">
                    <a:pos x="168" y="633"/>
                  </a:cxn>
                  <a:cxn ang="0">
                    <a:pos x="179" y="667"/>
                  </a:cxn>
                  <a:cxn ang="0">
                    <a:pos x="196" y="678"/>
                  </a:cxn>
                  <a:cxn ang="0">
                    <a:pos x="218" y="689"/>
                  </a:cxn>
                  <a:cxn ang="0">
                    <a:pos x="229" y="695"/>
                  </a:cxn>
                  <a:cxn ang="0">
                    <a:pos x="241" y="717"/>
                  </a:cxn>
                  <a:cxn ang="0">
                    <a:pos x="246" y="734"/>
                  </a:cxn>
                  <a:cxn ang="0">
                    <a:pos x="325" y="555"/>
                  </a:cxn>
                  <a:cxn ang="0">
                    <a:pos x="631" y="510"/>
                  </a:cxn>
                  <a:cxn ang="0">
                    <a:pos x="804" y="470"/>
                  </a:cxn>
                  <a:cxn ang="0">
                    <a:pos x="884" y="521"/>
                  </a:cxn>
                  <a:cxn ang="0">
                    <a:pos x="884" y="487"/>
                  </a:cxn>
                  <a:cxn ang="0">
                    <a:pos x="867" y="459"/>
                  </a:cxn>
                  <a:cxn ang="0">
                    <a:pos x="856" y="437"/>
                  </a:cxn>
                  <a:cxn ang="0">
                    <a:pos x="845" y="398"/>
                  </a:cxn>
                  <a:cxn ang="0">
                    <a:pos x="822" y="342"/>
                  </a:cxn>
                  <a:cxn ang="0">
                    <a:pos x="817" y="319"/>
                  </a:cxn>
                  <a:cxn ang="0">
                    <a:pos x="794" y="303"/>
                  </a:cxn>
                  <a:cxn ang="0">
                    <a:pos x="778" y="297"/>
                  </a:cxn>
                  <a:cxn ang="0">
                    <a:pos x="739" y="286"/>
                  </a:cxn>
                  <a:cxn ang="0">
                    <a:pos x="694" y="224"/>
                  </a:cxn>
                  <a:cxn ang="0">
                    <a:pos x="660" y="179"/>
                  </a:cxn>
                  <a:cxn ang="0">
                    <a:pos x="638" y="146"/>
                  </a:cxn>
                  <a:cxn ang="0">
                    <a:pos x="627" y="118"/>
                  </a:cxn>
                  <a:cxn ang="0">
                    <a:pos x="621" y="84"/>
                  </a:cxn>
                  <a:cxn ang="0">
                    <a:pos x="615" y="50"/>
                  </a:cxn>
                  <a:cxn ang="0">
                    <a:pos x="615" y="11"/>
                  </a:cxn>
                  <a:cxn ang="0">
                    <a:pos x="537" y="11"/>
                  </a:cxn>
                  <a:cxn ang="0">
                    <a:pos x="431" y="22"/>
                  </a:cxn>
                  <a:cxn ang="0">
                    <a:pos x="313" y="34"/>
                  </a:cxn>
                  <a:cxn ang="0">
                    <a:pos x="201" y="39"/>
                  </a:cxn>
                  <a:cxn ang="0">
                    <a:pos x="78" y="39"/>
                  </a:cxn>
                </a:cxnLst>
                <a:rect l="0" t="0" r="r" b="b"/>
                <a:pathLst>
                  <a:path w="884" h="734">
                    <a:moveTo>
                      <a:pt x="0" y="39"/>
                    </a:moveTo>
                    <a:lnTo>
                      <a:pt x="0" y="45"/>
                    </a:lnTo>
                    <a:lnTo>
                      <a:pt x="6" y="56"/>
                    </a:lnTo>
                    <a:lnTo>
                      <a:pt x="11" y="62"/>
                    </a:lnTo>
                    <a:lnTo>
                      <a:pt x="17" y="73"/>
                    </a:lnTo>
                    <a:lnTo>
                      <a:pt x="22" y="84"/>
                    </a:lnTo>
                    <a:lnTo>
                      <a:pt x="28" y="101"/>
                    </a:lnTo>
                    <a:lnTo>
                      <a:pt x="34" y="112"/>
                    </a:lnTo>
                    <a:lnTo>
                      <a:pt x="34" y="123"/>
                    </a:lnTo>
                    <a:lnTo>
                      <a:pt x="39" y="140"/>
                    </a:lnTo>
                    <a:lnTo>
                      <a:pt x="50" y="151"/>
                    </a:lnTo>
                    <a:lnTo>
                      <a:pt x="56" y="162"/>
                    </a:lnTo>
                    <a:lnTo>
                      <a:pt x="67" y="196"/>
                    </a:lnTo>
                    <a:lnTo>
                      <a:pt x="67" y="207"/>
                    </a:lnTo>
                    <a:lnTo>
                      <a:pt x="73" y="224"/>
                    </a:lnTo>
                    <a:lnTo>
                      <a:pt x="78" y="241"/>
                    </a:lnTo>
                    <a:lnTo>
                      <a:pt x="78" y="252"/>
                    </a:lnTo>
                    <a:lnTo>
                      <a:pt x="84" y="269"/>
                    </a:lnTo>
                    <a:lnTo>
                      <a:pt x="84" y="286"/>
                    </a:lnTo>
                    <a:lnTo>
                      <a:pt x="95" y="303"/>
                    </a:lnTo>
                    <a:lnTo>
                      <a:pt x="95" y="314"/>
                    </a:lnTo>
                    <a:lnTo>
                      <a:pt x="95" y="331"/>
                    </a:lnTo>
                    <a:lnTo>
                      <a:pt x="95" y="347"/>
                    </a:lnTo>
                    <a:lnTo>
                      <a:pt x="95" y="359"/>
                    </a:lnTo>
                    <a:lnTo>
                      <a:pt x="95" y="381"/>
                    </a:lnTo>
                    <a:lnTo>
                      <a:pt x="95" y="392"/>
                    </a:lnTo>
                    <a:lnTo>
                      <a:pt x="95" y="409"/>
                    </a:lnTo>
                    <a:lnTo>
                      <a:pt x="84" y="426"/>
                    </a:lnTo>
                    <a:lnTo>
                      <a:pt x="84" y="437"/>
                    </a:lnTo>
                    <a:lnTo>
                      <a:pt x="78" y="454"/>
                    </a:lnTo>
                    <a:lnTo>
                      <a:pt x="73" y="465"/>
                    </a:lnTo>
                    <a:lnTo>
                      <a:pt x="73" y="482"/>
                    </a:lnTo>
                    <a:lnTo>
                      <a:pt x="62" y="493"/>
                    </a:lnTo>
                    <a:lnTo>
                      <a:pt x="67" y="499"/>
                    </a:lnTo>
                    <a:lnTo>
                      <a:pt x="73" y="504"/>
                    </a:lnTo>
                    <a:lnTo>
                      <a:pt x="78" y="515"/>
                    </a:lnTo>
                    <a:lnTo>
                      <a:pt x="84" y="521"/>
                    </a:lnTo>
                    <a:lnTo>
                      <a:pt x="95" y="527"/>
                    </a:lnTo>
                    <a:lnTo>
                      <a:pt x="106" y="538"/>
                    </a:lnTo>
                    <a:lnTo>
                      <a:pt x="117" y="543"/>
                    </a:lnTo>
                    <a:lnTo>
                      <a:pt x="123" y="549"/>
                    </a:lnTo>
                    <a:lnTo>
                      <a:pt x="129" y="555"/>
                    </a:lnTo>
                    <a:lnTo>
                      <a:pt x="134" y="566"/>
                    </a:lnTo>
                    <a:lnTo>
                      <a:pt x="145" y="572"/>
                    </a:lnTo>
                    <a:lnTo>
                      <a:pt x="145" y="577"/>
                    </a:lnTo>
                    <a:lnTo>
                      <a:pt x="151" y="583"/>
                    </a:lnTo>
                    <a:lnTo>
                      <a:pt x="151" y="588"/>
                    </a:lnTo>
                    <a:lnTo>
                      <a:pt x="157" y="600"/>
                    </a:lnTo>
                    <a:lnTo>
                      <a:pt x="162" y="616"/>
                    </a:lnTo>
                    <a:lnTo>
                      <a:pt x="162" y="622"/>
                    </a:lnTo>
                    <a:lnTo>
                      <a:pt x="168" y="633"/>
                    </a:lnTo>
                    <a:lnTo>
                      <a:pt x="173" y="644"/>
                    </a:lnTo>
                    <a:lnTo>
                      <a:pt x="173" y="650"/>
                    </a:lnTo>
                    <a:lnTo>
                      <a:pt x="179" y="667"/>
                    </a:lnTo>
                    <a:lnTo>
                      <a:pt x="179" y="672"/>
                    </a:lnTo>
                    <a:lnTo>
                      <a:pt x="190" y="672"/>
                    </a:lnTo>
                    <a:lnTo>
                      <a:pt x="196" y="678"/>
                    </a:lnTo>
                    <a:lnTo>
                      <a:pt x="201" y="678"/>
                    </a:lnTo>
                    <a:lnTo>
                      <a:pt x="207" y="684"/>
                    </a:lnTo>
                    <a:lnTo>
                      <a:pt x="218" y="689"/>
                    </a:lnTo>
                    <a:lnTo>
                      <a:pt x="224" y="689"/>
                    </a:lnTo>
                    <a:lnTo>
                      <a:pt x="224" y="695"/>
                    </a:lnTo>
                    <a:lnTo>
                      <a:pt x="229" y="695"/>
                    </a:lnTo>
                    <a:lnTo>
                      <a:pt x="229" y="706"/>
                    </a:lnTo>
                    <a:lnTo>
                      <a:pt x="241" y="712"/>
                    </a:lnTo>
                    <a:lnTo>
                      <a:pt x="241" y="717"/>
                    </a:lnTo>
                    <a:lnTo>
                      <a:pt x="246" y="723"/>
                    </a:lnTo>
                    <a:lnTo>
                      <a:pt x="246" y="728"/>
                    </a:lnTo>
                    <a:lnTo>
                      <a:pt x="246" y="734"/>
                    </a:lnTo>
                    <a:lnTo>
                      <a:pt x="246" y="734"/>
                    </a:lnTo>
                    <a:lnTo>
                      <a:pt x="252" y="734"/>
                    </a:lnTo>
                    <a:cubicBezTo>
                      <a:pt x="265" y="704"/>
                      <a:pt x="206" y="594"/>
                      <a:pt x="325" y="555"/>
                    </a:cubicBezTo>
                    <a:cubicBezTo>
                      <a:pt x="444" y="516"/>
                      <a:pt x="541" y="650"/>
                      <a:pt x="593" y="628"/>
                    </a:cubicBezTo>
                    <a:cubicBezTo>
                      <a:pt x="643" y="630"/>
                      <a:pt x="619" y="588"/>
                      <a:pt x="625" y="568"/>
                    </a:cubicBezTo>
                    <a:cubicBezTo>
                      <a:pt x="631" y="548"/>
                      <a:pt x="620" y="531"/>
                      <a:pt x="631" y="510"/>
                    </a:cubicBezTo>
                    <a:cubicBezTo>
                      <a:pt x="642" y="489"/>
                      <a:pt x="672" y="457"/>
                      <a:pt x="692" y="445"/>
                    </a:cubicBezTo>
                    <a:cubicBezTo>
                      <a:pt x="712" y="433"/>
                      <a:pt x="722" y="426"/>
                      <a:pt x="754" y="440"/>
                    </a:cubicBezTo>
                    <a:cubicBezTo>
                      <a:pt x="773" y="444"/>
                      <a:pt x="782" y="455"/>
                      <a:pt x="804" y="470"/>
                    </a:cubicBezTo>
                    <a:cubicBezTo>
                      <a:pt x="826" y="485"/>
                      <a:pt x="871" y="517"/>
                      <a:pt x="884" y="527"/>
                    </a:cubicBezTo>
                    <a:lnTo>
                      <a:pt x="884" y="527"/>
                    </a:lnTo>
                    <a:lnTo>
                      <a:pt x="884" y="521"/>
                    </a:lnTo>
                    <a:lnTo>
                      <a:pt x="884" y="504"/>
                    </a:lnTo>
                    <a:lnTo>
                      <a:pt x="884" y="493"/>
                    </a:lnTo>
                    <a:lnTo>
                      <a:pt x="884" y="487"/>
                    </a:lnTo>
                    <a:lnTo>
                      <a:pt x="878" y="482"/>
                    </a:lnTo>
                    <a:lnTo>
                      <a:pt x="873" y="465"/>
                    </a:lnTo>
                    <a:lnTo>
                      <a:pt x="867" y="459"/>
                    </a:lnTo>
                    <a:lnTo>
                      <a:pt x="867" y="454"/>
                    </a:lnTo>
                    <a:lnTo>
                      <a:pt x="862" y="448"/>
                    </a:lnTo>
                    <a:lnTo>
                      <a:pt x="856" y="437"/>
                    </a:lnTo>
                    <a:lnTo>
                      <a:pt x="856" y="431"/>
                    </a:lnTo>
                    <a:lnTo>
                      <a:pt x="850" y="415"/>
                    </a:lnTo>
                    <a:lnTo>
                      <a:pt x="845" y="398"/>
                    </a:lnTo>
                    <a:lnTo>
                      <a:pt x="834" y="381"/>
                    </a:lnTo>
                    <a:lnTo>
                      <a:pt x="828" y="359"/>
                    </a:lnTo>
                    <a:lnTo>
                      <a:pt x="822" y="342"/>
                    </a:lnTo>
                    <a:lnTo>
                      <a:pt x="822" y="336"/>
                    </a:lnTo>
                    <a:lnTo>
                      <a:pt x="817" y="331"/>
                    </a:lnTo>
                    <a:lnTo>
                      <a:pt x="817" y="319"/>
                    </a:lnTo>
                    <a:lnTo>
                      <a:pt x="811" y="314"/>
                    </a:lnTo>
                    <a:lnTo>
                      <a:pt x="806" y="308"/>
                    </a:lnTo>
                    <a:lnTo>
                      <a:pt x="794" y="303"/>
                    </a:lnTo>
                    <a:lnTo>
                      <a:pt x="789" y="303"/>
                    </a:lnTo>
                    <a:lnTo>
                      <a:pt x="783" y="297"/>
                    </a:lnTo>
                    <a:lnTo>
                      <a:pt x="778" y="297"/>
                    </a:lnTo>
                    <a:lnTo>
                      <a:pt x="767" y="291"/>
                    </a:lnTo>
                    <a:lnTo>
                      <a:pt x="755" y="291"/>
                    </a:lnTo>
                    <a:lnTo>
                      <a:pt x="739" y="286"/>
                    </a:lnTo>
                    <a:lnTo>
                      <a:pt x="727" y="269"/>
                    </a:lnTo>
                    <a:lnTo>
                      <a:pt x="716" y="258"/>
                    </a:lnTo>
                    <a:lnTo>
                      <a:pt x="694" y="224"/>
                    </a:lnTo>
                    <a:lnTo>
                      <a:pt x="683" y="213"/>
                    </a:lnTo>
                    <a:lnTo>
                      <a:pt x="671" y="202"/>
                    </a:lnTo>
                    <a:lnTo>
                      <a:pt x="660" y="179"/>
                    </a:lnTo>
                    <a:lnTo>
                      <a:pt x="649" y="168"/>
                    </a:lnTo>
                    <a:lnTo>
                      <a:pt x="638" y="151"/>
                    </a:lnTo>
                    <a:lnTo>
                      <a:pt x="638" y="146"/>
                    </a:lnTo>
                    <a:lnTo>
                      <a:pt x="632" y="129"/>
                    </a:lnTo>
                    <a:lnTo>
                      <a:pt x="632" y="123"/>
                    </a:lnTo>
                    <a:lnTo>
                      <a:pt x="627" y="118"/>
                    </a:lnTo>
                    <a:lnTo>
                      <a:pt x="621" y="106"/>
                    </a:lnTo>
                    <a:lnTo>
                      <a:pt x="621" y="95"/>
                    </a:lnTo>
                    <a:lnTo>
                      <a:pt x="621" y="84"/>
                    </a:lnTo>
                    <a:lnTo>
                      <a:pt x="615" y="73"/>
                    </a:lnTo>
                    <a:lnTo>
                      <a:pt x="615" y="62"/>
                    </a:lnTo>
                    <a:lnTo>
                      <a:pt x="615" y="50"/>
                    </a:lnTo>
                    <a:lnTo>
                      <a:pt x="615" y="34"/>
                    </a:lnTo>
                    <a:lnTo>
                      <a:pt x="615" y="22"/>
                    </a:lnTo>
                    <a:lnTo>
                      <a:pt x="615" y="11"/>
                    </a:lnTo>
                    <a:lnTo>
                      <a:pt x="615" y="0"/>
                    </a:lnTo>
                    <a:lnTo>
                      <a:pt x="576" y="6"/>
                    </a:lnTo>
                    <a:lnTo>
                      <a:pt x="537" y="11"/>
                    </a:lnTo>
                    <a:lnTo>
                      <a:pt x="504" y="17"/>
                    </a:lnTo>
                    <a:lnTo>
                      <a:pt x="470" y="17"/>
                    </a:lnTo>
                    <a:lnTo>
                      <a:pt x="431" y="22"/>
                    </a:lnTo>
                    <a:lnTo>
                      <a:pt x="392" y="22"/>
                    </a:lnTo>
                    <a:lnTo>
                      <a:pt x="352" y="28"/>
                    </a:lnTo>
                    <a:lnTo>
                      <a:pt x="313" y="34"/>
                    </a:lnTo>
                    <a:lnTo>
                      <a:pt x="280" y="34"/>
                    </a:lnTo>
                    <a:lnTo>
                      <a:pt x="241" y="34"/>
                    </a:lnTo>
                    <a:lnTo>
                      <a:pt x="201" y="39"/>
                    </a:lnTo>
                    <a:lnTo>
                      <a:pt x="162" y="39"/>
                    </a:lnTo>
                    <a:lnTo>
                      <a:pt x="117" y="39"/>
                    </a:lnTo>
                    <a:lnTo>
                      <a:pt x="78" y="39"/>
                    </a:lnTo>
                    <a:lnTo>
                      <a:pt x="39" y="39"/>
                    </a:lnTo>
                    <a:lnTo>
                      <a:pt x="0" y="39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ctr" defTabSz="914308">
                  <a:defRPr/>
                </a:pPr>
                <a:endParaRPr lang="en-US" sz="9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Times New Roman" pitchFamily="18" charset="0"/>
                  <a:cs typeface="Times New Roman" pitchFamily="18" charset="0"/>
                </a:endParaRPr>
              </a:p>
            </p:txBody>
          </p:sp>
        </p:grpSp>
        <p:sp>
          <p:nvSpPr>
            <p:cNvPr id="36" name="Скругленный прямоугольник 35"/>
            <p:cNvSpPr/>
            <p:nvPr/>
          </p:nvSpPr>
          <p:spPr>
            <a:xfrm>
              <a:off x="2156713" y="3492902"/>
              <a:ext cx="1624761" cy="269629"/>
            </a:xfrm>
            <a:prstGeom prst="roundRect">
              <a:avLst/>
            </a:prstGeom>
            <a:ln w="6350">
              <a:solidFill>
                <a:srgbClr val="002060"/>
              </a:solidFill>
              <a:prstDash val="sysDash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0" tIns="0" rIns="66462" bIns="0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ru-RU" sz="1200" kern="10" dirty="0" smtClean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	</a:t>
              </a:r>
              <a:r>
                <a:rPr lang="ru-RU" sz="1200" kern="10" dirty="0" err="1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ңтүстік</a:t>
              </a:r>
              <a:r>
                <a:rPr lang="ru-RU" sz="1200" kern="10" dirty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200" kern="10" dirty="0" err="1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азақстан</a:t>
              </a:r>
              <a:r>
                <a:rPr lang="ru-RU" sz="1200" kern="10" dirty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200" kern="10" dirty="0" err="1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блысы</a:t>
              </a:r>
              <a:endParaRPr lang="ru-RU" sz="1400" kern="10" dirty="0">
                <a:ln w="9525">
                  <a:noFill/>
                  <a:round/>
                  <a:headEnd/>
                  <a:tailEnd/>
                </a:ln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Скругленный прямоугольник 36"/>
            <p:cNvSpPr/>
            <p:nvPr/>
          </p:nvSpPr>
          <p:spPr>
            <a:xfrm>
              <a:off x="2212224" y="1892712"/>
              <a:ext cx="1172650" cy="243581"/>
            </a:xfrm>
            <a:prstGeom prst="roundRect">
              <a:avLst/>
            </a:prstGeom>
            <a:ln w="6350">
              <a:solidFill>
                <a:srgbClr val="002060"/>
              </a:solidFill>
              <a:prstDash val="sysDash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0" tIns="0" rIns="66462" bIns="0" anchor="ctr" anchorCtr="0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ru-RU" sz="1200" kern="10" dirty="0" smtClean="0">
                  <a:ln w="9525">
                    <a:noFill/>
                    <a:round/>
                    <a:headEnd/>
                    <a:tailEnd/>
                  </a:ln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           </a:t>
              </a:r>
              <a:r>
                <a:rPr lang="ru-RU" sz="1200" kern="10" dirty="0" err="1" smtClean="0">
                  <a:ln w="9525">
                    <a:noFill/>
                    <a:round/>
                    <a:headEnd/>
                    <a:tailEnd/>
                  </a:ln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қтөбе</a:t>
              </a:r>
              <a:r>
                <a:rPr lang="ru-RU" sz="1200" kern="10" dirty="0" smtClean="0">
                  <a:ln w="9525">
                    <a:noFill/>
                    <a:round/>
                    <a:headEnd/>
                    <a:tailEnd/>
                  </a:ln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200" kern="10" dirty="0" err="1">
                  <a:ln w="9525">
                    <a:noFill/>
                    <a:round/>
                    <a:headEnd/>
                    <a:tailEnd/>
                  </a:ln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блысы</a:t>
              </a:r>
              <a:endParaRPr lang="ru-RU" sz="1200" i="1" kern="10" dirty="0">
                <a:ln w="9525">
                  <a:noFill/>
                  <a:round/>
                  <a:headEnd/>
                  <a:tailEnd/>
                </a:ln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Скругленный прямоугольник 37"/>
            <p:cNvSpPr/>
            <p:nvPr/>
          </p:nvSpPr>
          <p:spPr>
            <a:xfrm>
              <a:off x="1316119" y="2809113"/>
              <a:ext cx="1412759" cy="291700"/>
            </a:xfrm>
            <a:prstGeom prst="roundRect">
              <a:avLst/>
            </a:prstGeom>
            <a:ln w="6350">
              <a:solidFill>
                <a:srgbClr val="002060"/>
              </a:solidFill>
              <a:prstDash val="sysDash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0" tIns="0" rIns="66462" bIns="0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ru-RU" sz="1200" kern="10" dirty="0" smtClean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             </a:t>
              </a:r>
              <a:r>
                <a:rPr lang="ru-RU" sz="1200" kern="10" dirty="0" err="1" smtClean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ызылорда</a:t>
              </a:r>
              <a:r>
                <a:rPr lang="ru-RU" sz="1200" kern="10" dirty="0" smtClean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200" kern="10" dirty="0" err="1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блысы</a:t>
              </a:r>
              <a:endParaRPr lang="ru-RU" sz="1200" kern="10" dirty="0">
                <a:ln w="9525">
                  <a:noFill/>
                  <a:round/>
                  <a:headEnd/>
                  <a:tailEnd/>
                </a:ln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Скругленный прямоугольник 38"/>
            <p:cNvSpPr/>
            <p:nvPr/>
          </p:nvSpPr>
          <p:spPr>
            <a:xfrm>
              <a:off x="5130226" y="2881587"/>
              <a:ext cx="1348961" cy="267269"/>
            </a:xfrm>
            <a:prstGeom prst="roundRect">
              <a:avLst/>
            </a:prstGeom>
            <a:ln w="6350">
              <a:solidFill>
                <a:srgbClr val="002060"/>
              </a:solidFill>
              <a:prstDash val="sysDash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0" tIns="0" rIns="33231" bIns="0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ru-RU" sz="1200" kern="10" dirty="0" smtClean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                  </a:t>
              </a:r>
              <a:r>
                <a:rPr lang="ru-RU" sz="1200" kern="10" dirty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лматы </a:t>
              </a:r>
              <a:r>
                <a:rPr lang="ru-RU" sz="1200" kern="10" dirty="0" err="1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блысы</a:t>
              </a:r>
              <a:endParaRPr lang="ru-RU" sz="1200" kern="10" dirty="0">
                <a:ln w="9525">
                  <a:noFill/>
                  <a:round/>
                  <a:headEnd/>
                  <a:tailEnd/>
                </a:ln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Скругленный прямоугольник 39"/>
            <p:cNvSpPr/>
            <p:nvPr/>
          </p:nvSpPr>
          <p:spPr>
            <a:xfrm>
              <a:off x="5412581" y="1710960"/>
              <a:ext cx="1643500" cy="282601"/>
            </a:xfrm>
            <a:prstGeom prst="roundRect">
              <a:avLst/>
            </a:prstGeom>
            <a:ln w="6350">
              <a:solidFill>
                <a:srgbClr val="002060"/>
              </a:solidFill>
              <a:prstDash val="sysDash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0" tIns="0" rIns="66462" bIns="0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ru-RU" sz="1200" kern="10" dirty="0" smtClean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	</a:t>
              </a:r>
              <a:r>
                <a:rPr lang="ru-RU" sz="1200" kern="10" dirty="0" err="1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Шығыс</a:t>
              </a:r>
              <a:r>
                <a:rPr lang="ru-RU" sz="1200" kern="10" dirty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200" kern="10" dirty="0" err="1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азақстан</a:t>
              </a:r>
              <a:r>
                <a:rPr lang="ru-RU" sz="1200" kern="10" dirty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200" kern="10" dirty="0" err="1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блысы</a:t>
              </a:r>
              <a:r>
                <a:rPr lang="ru-RU" sz="1200" kern="10" dirty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endParaRPr lang="en-US" sz="1200" kern="10" dirty="0">
                <a:ln w="9525">
                  <a:noFill/>
                  <a:round/>
                  <a:headEnd/>
                  <a:tailEnd/>
                </a:ln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Скругленный прямоугольник 40"/>
            <p:cNvSpPr/>
            <p:nvPr/>
          </p:nvSpPr>
          <p:spPr>
            <a:xfrm>
              <a:off x="5374862" y="3821582"/>
              <a:ext cx="1064720" cy="278308"/>
            </a:xfrm>
            <a:prstGeom prst="roundRect">
              <a:avLst/>
            </a:prstGeom>
            <a:ln w="6350">
              <a:solidFill>
                <a:srgbClr val="002060"/>
              </a:solidFill>
              <a:prstDash val="sysDash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0" tIns="0" rIns="66462" bIns="0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ru-RU" sz="1100" kern="10" dirty="0" smtClean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	</a:t>
              </a:r>
              <a:r>
                <a:rPr lang="ru-RU" sz="1200" kern="10" dirty="0" smtClean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лматы</a:t>
              </a:r>
              <a:r>
                <a:rPr lang="en-US" sz="1200" kern="10" dirty="0" smtClean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</a:t>
              </a:r>
              <a:r>
                <a:rPr lang="kk-KZ" sz="1200" kern="10" dirty="0" smtClean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аласы</a:t>
              </a:r>
              <a:endParaRPr lang="ru-RU" sz="2800" kern="10" dirty="0" smtClean="0">
                <a:ln w="9525">
                  <a:noFill/>
                  <a:round/>
                  <a:headEnd/>
                  <a:tailEnd/>
                </a:ln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Скругленный прямоугольник 41"/>
            <p:cNvSpPr/>
            <p:nvPr/>
          </p:nvSpPr>
          <p:spPr>
            <a:xfrm>
              <a:off x="481554" y="2174197"/>
              <a:ext cx="1353426" cy="272293"/>
            </a:xfrm>
            <a:prstGeom prst="roundRect">
              <a:avLst/>
            </a:prstGeom>
            <a:ln w="6350">
              <a:solidFill>
                <a:srgbClr val="002060"/>
              </a:solidFill>
              <a:prstDash val="sysDash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0" tIns="0" rIns="66462" bIns="0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ru-RU" sz="600" kern="10" dirty="0" smtClean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600" i="1" kern="10" dirty="0" smtClean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                                   </a:t>
              </a:r>
              <a:r>
                <a:rPr lang="ru-RU" sz="1200" kern="10" dirty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тырау </a:t>
              </a:r>
              <a:r>
                <a:rPr lang="ru-RU" sz="1200" kern="10" dirty="0" err="1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блысы</a:t>
              </a:r>
              <a:endParaRPr lang="ru-RU" sz="600" kern="10" dirty="0">
                <a:ln w="9525">
                  <a:noFill/>
                  <a:round/>
                  <a:headEnd/>
                  <a:tailEnd/>
                </a:ln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Скругленный прямоугольник 42"/>
            <p:cNvSpPr/>
            <p:nvPr/>
          </p:nvSpPr>
          <p:spPr>
            <a:xfrm>
              <a:off x="1948335" y="1295550"/>
              <a:ext cx="1273853" cy="275847"/>
            </a:xfrm>
            <a:prstGeom prst="roundRect">
              <a:avLst/>
            </a:prstGeom>
            <a:ln w="6350">
              <a:solidFill>
                <a:srgbClr val="002060"/>
              </a:solidFill>
              <a:prstDash val="sysDash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0" tIns="0" rIns="66462" bIns="0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ru-RU" sz="1200" kern="10" dirty="0" smtClean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	</a:t>
              </a:r>
              <a:r>
                <a:rPr lang="ru-RU" sz="1200" kern="10" dirty="0" err="1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останай</a:t>
              </a:r>
              <a:r>
                <a:rPr lang="ru-RU" sz="1200" kern="10" dirty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200" kern="10" dirty="0" err="1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блысы</a:t>
              </a:r>
              <a:endParaRPr lang="ru-RU" sz="600" kern="10" dirty="0">
                <a:ln w="9525">
                  <a:noFill/>
                  <a:round/>
                  <a:headEnd/>
                  <a:tailEnd/>
                </a:ln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Скругленный прямоугольник 43"/>
            <p:cNvSpPr/>
            <p:nvPr/>
          </p:nvSpPr>
          <p:spPr>
            <a:xfrm>
              <a:off x="3735244" y="2155448"/>
              <a:ext cx="1325695" cy="291041"/>
            </a:xfrm>
            <a:prstGeom prst="roundRect">
              <a:avLst/>
            </a:prstGeom>
            <a:ln w="6350">
              <a:solidFill>
                <a:srgbClr val="002060"/>
              </a:solidFill>
              <a:prstDash val="sysDash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0" tIns="0" rIns="66462" bIns="0" anchor="ctr" anchorCtr="0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ru-RU" sz="1200" kern="10" dirty="0" smtClean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     	</a:t>
              </a:r>
              <a:r>
                <a:rPr lang="ru-RU" sz="1200" kern="10" dirty="0" err="1" smtClean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арағанды</a:t>
              </a:r>
              <a:r>
                <a:rPr lang="ru-RU" sz="1200" kern="10" dirty="0" smtClean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200" kern="10" dirty="0" err="1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блысы</a:t>
              </a:r>
              <a:endParaRPr lang="ru-RU" sz="1200" kern="10" dirty="0">
                <a:ln w="9525">
                  <a:noFill/>
                  <a:round/>
                  <a:headEnd/>
                  <a:tailEnd/>
                </a:ln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Скругленный прямоугольник 44"/>
            <p:cNvSpPr/>
            <p:nvPr/>
          </p:nvSpPr>
          <p:spPr>
            <a:xfrm>
              <a:off x="3605018" y="1248017"/>
              <a:ext cx="1124268" cy="256569"/>
            </a:xfrm>
            <a:prstGeom prst="roundRect">
              <a:avLst/>
            </a:prstGeom>
            <a:ln w="6350">
              <a:solidFill>
                <a:srgbClr val="002060"/>
              </a:solidFill>
              <a:prstDash val="sysDash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0" tIns="0" rIns="66462" bIns="0" anchor="ctr" anchorCtr="0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ru-RU" sz="1200" kern="10" dirty="0" smtClean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               </a:t>
              </a:r>
              <a:r>
                <a:rPr lang="ru-RU" sz="1200" kern="10" dirty="0" err="1" smtClean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қмола</a:t>
              </a:r>
              <a:r>
                <a:rPr lang="ru-RU" sz="1200" kern="10" dirty="0" smtClean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200" kern="10" dirty="0" err="1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блысы</a:t>
              </a:r>
              <a:endParaRPr lang="ru-RU" sz="1200" kern="10" dirty="0" smtClean="0">
                <a:ln w="9525">
                  <a:noFill/>
                  <a:round/>
                  <a:headEnd/>
                  <a:tailEnd/>
                </a:ln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Скругленный прямоугольник 45"/>
            <p:cNvSpPr/>
            <p:nvPr/>
          </p:nvSpPr>
          <p:spPr>
            <a:xfrm>
              <a:off x="3245443" y="3071441"/>
              <a:ext cx="1389914" cy="253687"/>
            </a:xfrm>
            <a:prstGeom prst="roundRect">
              <a:avLst/>
            </a:prstGeom>
            <a:ln w="6350">
              <a:solidFill>
                <a:srgbClr val="002060"/>
              </a:solidFill>
              <a:prstDash val="sysDash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0" tIns="0" rIns="66462" bIns="0" anchor="ctr" anchorCtr="0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ru-RU" sz="1200" kern="10" dirty="0" smtClean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	    Жамбыл </a:t>
              </a:r>
              <a:r>
                <a:rPr lang="ru-RU" sz="1200" kern="10" dirty="0" err="1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блысы</a:t>
              </a:r>
              <a:endParaRPr lang="ru-RU" sz="1200" kern="10" dirty="0">
                <a:ln w="9525">
                  <a:noFill/>
                  <a:round/>
                  <a:headEnd/>
                  <a:tailEnd/>
                </a:ln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Скругленный прямоугольник 46"/>
            <p:cNvSpPr/>
            <p:nvPr/>
          </p:nvSpPr>
          <p:spPr>
            <a:xfrm>
              <a:off x="438634" y="1492448"/>
              <a:ext cx="1247579" cy="251086"/>
            </a:xfrm>
            <a:prstGeom prst="roundRect">
              <a:avLst/>
            </a:prstGeom>
            <a:ln w="6350">
              <a:solidFill>
                <a:srgbClr val="002060"/>
              </a:solidFill>
              <a:prstDash val="sysDash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0" tIns="0" rIns="66462" bIns="0" anchor="ctr" anchorCtr="0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ru-RU" sz="1200" kern="10" dirty="0" smtClean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                  </a:t>
              </a:r>
              <a:r>
                <a:rPr lang="ru-RU" sz="1200" kern="10" dirty="0" err="1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атыс</a:t>
              </a:r>
              <a:r>
                <a:rPr lang="ru-RU" sz="1200" kern="10" dirty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200" kern="10" dirty="0" err="1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азақстан</a:t>
              </a:r>
              <a:r>
                <a:rPr lang="ru-RU" sz="1200" kern="10" dirty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200" kern="10" dirty="0" err="1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блысы</a:t>
              </a:r>
              <a:r>
                <a:rPr lang="ru-RU" sz="1200" kern="10" dirty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</p:txBody>
        </p:sp>
        <p:sp>
          <p:nvSpPr>
            <p:cNvPr id="48" name="Скругленный прямоугольник 47"/>
            <p:cNvSpPr/>
            <p:nvPr/>
          </p:nvSpPr>
          <p:spPr>
            <a:xfrm>
              <a:off x="5473147" y="1011022"/>
              <a:ext cx="1285413" cy="284528"/>
            </a:xfrm>
            <a:prstGeom prst="roundRect">
              <a:avLst/>
            </a:prstGeom>
            <a:ln w="6350">
              <a:solidFill>
                <a:srgbClr val="002060"/>
              </a:solidFill>
              <a:prstDash val="sysDash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0" tIns="0" rIns="66462" bIns="0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ru-RU" sz="1200" kern="10" dirty="0" smtClean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	</a:t>
              </a:r>
              <a:r>
                <a:rPr lang="ru-RU" sz="1200" kern="10" dirty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авлодар </a:t>
              </a:r>
              <a:r>
                <a:rPr lang="ru-RU" sz="1200" kern="10" dirty="0" err="1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блысы</a:t>
              </a:r>
              <a:endParaRPr lang="ru-RU" sz="1200" kern="10" dirty="0">
                <a:ln w="9525">
                  <a:noFill/>
                  <a:round/>
                  <a:headEnd/>
                  <a:tailEnd/>
                </a:ln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Овал 48"/>
            <p:cNvSpPr/>
            <p:nvPr/>
          </p:nvSpPr>
          <p:spPr>
            <a:xfrm>
              <a:off x="954170" y="1844751"/>
              <a:ext cx="68459" cy="68459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 sz="1286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50" name="Овал 49"/>
            <p:cNvSpPr/>
            <p:nvPr/>
          </p:nvSpPr>
          <p:spPr>
            <a:xfrm>
              <a:off x="1316120" y="2467595"/>
              <a:ext cx="68459" cy="68459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 sz="1286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51" name="Овал 50"/>
            <p:cNvSpPr/>
            <p:nvPr/>
          </p:nvSpPr>
          <p:spPr>
            <a:xfrm>
              <a:off x="2490166" y="2238575"/>
              <a:ext cx="68459" cy="68459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 sz="1286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52" name="Овал 51"/>
            <p:cNvSpPr/>
            <p:nvPr/>
          </p:nvSpPr>
          <p:spPr>
            <a:xfrm>
              <a:off x="3102983" y="1617991"/>
              <a:ext cx="68459" cy="68459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 sz="1286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53" name="Овал 52"/>
            <p:cNvSpPr/>
            <p:nvPr/>
          </p:nvSpPr>
          <p:spPr>
            <a:xfrm>
              <a:off x="4083001" y="1540452"/>
              <a:ext cx="68459" cy="68459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 sz="1286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54" name="Овал 53"/>
            <p:cNvSpPr/>
            <p:nvPr/>
          </p:nvSpPr>
          <p:spPr>
            <a:xfrm>
              <a:off x="2810240" y="3114627"/>
              <a:ext cx="68459" cy="68459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 sz="1286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55" name="Овал 54"/>
            <p:cNvSpPr/>
            <p:nvPr/>
          </p:nvSpPr>
          <p:spPr>
            <a:xfrm>
              <a:off x="3849723" y="3592564"/>
              <a:ext cx="68459" cy="68459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 sz="1286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56" name="Овал 55"/>
            <p:cNvSpPr/>
            <p:nvPr/>
          </p:nvSpPr>
          <p:spPr>
            <a:xfrm>
              <a:off x="5473147" y="2720804"/>
              <a:ext cx="68459" cy="68459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 sz="1286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57" name="Овал 56"/>
            <p:cNvSpPr/>
            <p:nvPr/>
          </p:nvSpPr>
          <p:spPr>
            <a:xfrm>
              <a:off x="5374862" y="3620996"/>
              <a:ext cx="68459" cy="68459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 sz="1286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58" name="Овал 57"/>
            <p:cNvSpPr/>
            <p:nvPr/>
          </p:nvSpPr>
          <p:spPr>
            <a:xfrm>
              <a:off x="3773782" y="2504130"/>
              <a:ext cx="68459" cy="68459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 sz="1286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59" name="Овал 58"/>
            <p:cNvSpPr/>
            <p:nvPr/>
          </p:nvSpPr>
          <p:spPr>
            <a:xfrm>
              <a:off x="5751430" y="2169886"/>
              <a:ext cx="68459" cy="68459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 sz="1286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60" name="Овал 59"/>
            <p:cNvSpPr/>
            <p:nvPr/>
          </p:nvSpPr>
          <p:spPr>
            <a:xfrm>
              <a:off x="5060938" y="1402198"/>
              <a:ext cx="68459" cy="68459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 sz="1286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61" name="Овал 60"/>
            <p:cNvSpPr/>
            <p:nvPr/>
          </p:nvSpPr>
          <p:spPr>
            <a:xfrm>
              <a:off x="4321215" y="3439530"/>
              <a:ext cx="68459" cy="68459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 sz="1286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cxnSp>
          <p:nvCxnSpPr>
            <p:cNvPr id="62" name="Прямая соединительная линия 61"/>
            <p:cNvCxnSpPr>
              <a:stCxn id="52" idx="1"/>
              <a:endCxn id="43" idx="2"/>
            </p:cNvCxnSpPr>
            <p:nvPr/>
          </p:nvCxnSpPr>
          <p:spPr>
            <a:xfrm flipH="1" flipV="1">
              <a:off x="2585262" y="1571397"/>
              <a:ext cx="527747" cy="56620"/>
            </a:xfrm>
            <a:prstGeom prst="line">
              <a:avLst/>
            </a:prstGeom>
            <a:ln w="31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Прямая соединительная линия 62"/>
            <p:cNvCxnSpPr>
              <a:stCxn id="53" idx="1"/>
              <a:endCxn id="45" idx="2"/>
            </p:cNvCxnSpPr>
            <p:nvPr/>
          </p:nvCxnSpPr>
          <p:spPr>
            <a:xfrm flipV="1">
              <a:off x="4093027" y="1504586"/>
              <a:ext cx="74126" cy="45891"/>
            </a:xfrm>
            <a:prstGeom prst="line">
              <a:avLst/>
            </a:prstGeom>
            <a:ln w="31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Прямая соединительная линия 63"/>
            <p:cNvCxnSpPr>
              <a:stCxn id="60" idx="7"/>
              <a:endCxn id="48" idx="2"/>
            </p:cNvCxnSpPr>
            <p:nvPr/>
          </p:nvCxnSpPr>
          <p:spPr>
            <a:xfrm flipV="1">
              <a:off x="5119372" y="1295550"/>
              <a:ext cx="996482" cy="116673"/>
            </a:xfrm>
            <a:prstGeom prst="line">
              <a:avLst/>
            </a:prstGeom>
            <a:ln w="31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Прямая соединительная линия 64"/>
            <p:cNvCxnSpPr>
              <a:endCxn id="40" idx="2"/>
            </p:cNvCxnSpPr>
            <p:nvPr/>
          </p:nvCxnSpPr>
          <p:spPr>
            <a:xfrm flipV="1">
              <a:off x="5784581" y="1993562"/>
              <a:ext cx="449750" cy="186354"/>
            </a:xfrm>
            <a:prstGeom prst="line">
              <a:avLst/>
            </a:prstGeom>
            <a:ln w="31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Прямая соединительная линия 65"/>
            <p:cNvCxnSpPr>
              <a:stCxn id="58" idx="7"/>
              <a:endCxn id="44" idx="2"/>
            </p:cNvCxnSpPr>
            <p:nvPr/>
          </p:nvCxnSpPr>
          <p:spPr>
            <a:xfrm flipV="1">
              <a:off x="3832216" y="2446489"/>
              <a:ext cx="565876" cy="67667"/>
            </a:xfrm>
            <a:prstGeom prst="line">
              <a:avLst/>
            </a:prstGeom>
            <a:ln w="31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Прямая соединительная линия 66"/>
            <p:cNvCxnSpPr>
              <a:endCxn id="39" idx="0"/>
            </p:cNvCxnSpPr>
            <p:nvPr/>
          </p:nvCxnSpPr>
          <p:spPr>
            <a:xfrm>
              <a:off x="5514976" y="2789263"/>
              <a:ext cx="289731" cy="92324"/>
            </a:xfrm>
            <a:prstGeom prst="line">
              <a:avLst/>
            </a:prstGeom>
            <a:ln w="31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Прямая соединительная линия 67"/>
            <p:cNvCxnSpPr>
              <a:endCxn id="41" idx="0"/>
            </p:cNvCxnSpPr>
            <p:nvPr/>
          </p:nvCxnSpPr>
          <p:spPr>
            <a:xfrm>
              <a:off x="5412581" y="3689455"/>
              <a:ext cx="494641" cy="132127"/>
            </a:xfrm>
            <a:prstGeom prst="line">
              <a:avLst/>
            </a:prstGeom>
            <a:ln w="31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Прямая соединительная линия 68"/>
            <p:cNvCxnSpPr>
              <a:stCxn id="61" idx="1"/>
            </p:cNvCxnSpPr>
            <p:nvPr/>
          </p:nvCxnSpPr>
          <p:spPr>
            <a:xfrm flipH="1" flipV="1">
              <a:off x="3869170" y="3325128"/>
              <a:ext cx="462070" cy="124428"/>
            </a:xfrm>
            <a:prstGeom prst="line">
              <a:avLst/>
            </a:prstGeom>
            <a:ln w="31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Прямая соединительная линия 69"/>
            <p:cNvCxnSpPr>
              <a:stCxn id="55" idx="3"/>
              <a:endCxn id="36" idx="3"/>
            </p:cNvCxnSpPr>
            <p:nvPr/>
          </p:nvCxnSpPr>
          <p:spPr>
            <a:xfrm flipH="1" flipV="1">
              <a:off x="3781474" y="3627716"/>
              <a:ext cx="78275" cy="23281"/>
            </a:xfrm>
            <a:prstGeom prst="line">
              <a:avLst/>
            </a:prstGeom>
            <a:ln w="31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Прямая соединительная линия 70"/>
            <p:cNvCxnSpPr>
              <a:stCxn id="54" idx="1"/>
              <a:endCxn id="38" idx="3"/>
            </p:cNvCxnSpPr>
            <p:nvPr/>
          </p:nvCxnSpPr>
          <p:spPr>
            <a:xfrm flipH="1" flipV="1">
              <a:off x="2728878" y="2954963"/>
              <a:ext cx="91387" cy="169689"/>
            </a:xfrm>
            <a:prstGeom prst="line">
              <a:avLst/>
            </a:prstGeom>
            <a:ln w="31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Прямая соединительная линия 71"/>
            <p:cNvCxnSpPr>
              <a:stCxn id="49" idx="0"/>
            </p:cNvCxnSpPr>
            <p:nvPr/>
          </p:nvCxnSpPr>
          <p:spPr>
            <a:xfrm flipV="1">
              <a:off x="988399" y="1743534"/>
              <a:ext cx="74025" cy="101217"/>
            </a:xfrm>
            <a:prstGeom prst="line">
              <a:avLst/>
            </a:prstGeom>
            <a:ln w="31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Прямая соединительная линия 72"/>
            <p:cNvCxnSpPr>
              <a:stCxn id="51" idx="0"/>
              <a:endCxn id="37" idx="2"/>
            </p:cNvCxnSpPr>
            <p:nvPr/>
          </p:nvCxnSpPr>
          <p:spPr>
            <a:xfrm flipV="1">
              <a:off x="2524395" y="2136294"/>
              <a:ext cx="274154" cy="102281"/>
            </a:xfrm>
            <a:prstGeom prst="line">
              <a:avLst/>
            </a:prstGeom>
            <a:ln w="31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Прямая соединительная линия 73"/>
            <p:cNvCxnSpPr>
              <a:stCxn id="50" idx="0"/>
              <a:endCxn id="42" idx="2"/>
            </p:cNvCxnSpPr>
            <p:nvPr/>
          </p:nvCxnSpPr>
          <p:spPr>
            <a:xfrm flipH="1" flipV="1">
              <a:off x="1158267" y="2446490"/>
              <a:ext cx="192082" cy="21105"/>
            </a:xfrm>
            <a:prstGeom prst="line">
              <a:avLst/>
            </a:prstGeom>
            <a:ln w="31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5" name="Группа 74"/>
            <p:cNvGrpSpPr/>
            <p:nvPr/>
          </p:nvGrpSpPr>
          <p:grpSpPr>
            <a:xfrm>
              <a:off x="261833" y="701789"/>
              <a:ext cx="1754000" cy="309775"/>
              <a:chOff x="261832" y="835471"/>
              <a:chExt cx="1385741" cy="309775"/>
            </a:xfrm>
          </p:grpSpPr>
          <p:sp>
            <p:nvSpPr>
              <p:cNvPr id="93" name="Прямоугольник 92"/>
              <p:cNvSpPr/>
              <p:nvPr/>
            </p:nvSpPr>
            <p:spPr>
              <a:xfrm>
                <a:off x="261833" y="890255"/>
                <a:ext cx="173589" cy="50434"/>
              </a:xfrm>
              <a:prstGeom prst="rect">
                <a:avLst/>
              </a:prstGeom>
              <a:solidFill>
                <a:srgbClr val="548235"/>
              </a:solidFill>
              <a:ln>
                <a:solidFill>
                  <a:srgbClr val="54823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2000"/>
              </a:p>
            </p:txBody>
          </p:sp>
          <p:sp>
            <p:nvSpPr>
              <p:cNvPr id="94" name="Прямоугольник 93"/>
              <p:cNvSpPr/>
              <p:nvPr/>
            </p:nvSpPr>
            <p:spPr>
              <a:xfrm>
                <a:off x="261833" y="977097"/>
                <a:ext cx="173589" cy="50434"/>
              </a:xfrm>
              <a:prstGeom prst="rect">
                <a:avLst/>
              </a:prstGeom>
              <a:solidFill>
                <a:srgbClr val="C55A11"/>
              </a:solidFill>
              <a:ln>
                <a:solidFill>
                  <a:srgbClr val="C55A1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2000"/>
              </a:p>
            </p:txBody>
          </p:sp>
          <p:sp>
            <p:nvSpPr>
              <p:cNvPr id="95" name="Прямоугольник 94"/>
              <p:cNvSpPr/>
              <p:nvPr/>
            </p:nvSpPr>
            <p:spPr>
              <a:xfrm>
                <a:off x="261832" y="1059322"/>
                <a:ext cx="173589" cy="50434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2000"/>
              </a:p>
            </p:txBody>
          </p:sp>
          <p:sp>
            <p:nvSpPr>
              <p:cNvPr id="96" name="TextBox 95"/>
              <p:cNvSpPr txBox="1"/>
              <p:nvPr/>
            </p:nvSpPr>
            <p:spPr>
              <a:xfrm>
                <a:off x="407728" y="835471"/>
                <a:ext cx="633890" cy="143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700" b="1" i="1" dirty="0" smtClean="0">
                    <a:latin typeface="Arial" pitchFamily="34" charset="0"/>
                    <a:cs typeface="Arial" pitchFamily="34" charset="0"/>
                  </a:rPr>
                  <a:t>- </a:t>
                </a:r>
                <a:r>
                  <a:rPr lang="ru-RU" sz="700" b="1" i="1" dirty="0" err="1" smtClean="0">
                    <a:latin typeface="Arial" pitchFamily="34" charset="0"/>
                    <a:cs typeface="Arial" pitchFamily="34" charset="0"/>
                  </a:rPr>
                  <a:t>қолданыстағы</a:t>
                </a:r>
                <a:r>
                  <a:rPr lang="ru-RU" sz="700" b="1" i="1" dirty="0" smtClean="0">
                    <a:latin typeface="Arial" pitchFamily="34" charset="0"/>
                    <a:cs typeface="Arial" pitchFamily="34" charset="0"/>
                  </a:rPr>
                  <a:t> ИА</a:t>
                </a:r>
                <a:endParaRPr lang="ru-RU" sz="700" b="1" i="1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7" name="TextBox 96"/>
              <p:cNvSpPr txBox="1"/>
              <p:nvPr/>
            </p:nvSpPr>
            <p:spPr>
              <a:xfrm>
                <a:off x="412299" y="1001748"/>
                <a:ext cx="1235274" cy="143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700" b="1" i="1" dirty="0" smtClean="0">
                    <a:latin typeface="Arial" pitchFamily="34" charset="0"/>
                    <a:cs typeface="Arial" pitchFamily="34" charset="0"/>
                  </a:rPr>
                  <a:t>- </a:t>
                </a:r>
                <a:r>
                  <a:rPr lang="ru-RU" sz="700" b="1" i="1" dirty="0" err="1">
                    <a:latin typeface="Arial" pitchFamily="34" charset="0"/>
                    <a:cs typeface="Arial" pitchFamily="34" charset="0"/>
                  </a:rPr>
                  <a:t>құрылыста</a:t>
                </a:r>
                <a:r>
                  <a:rPr lang="ru-RU" sz="700" b="1" i="1" dirty="0">
                    <a:latin typeface="Arial" pitchFamily="34" charset="0"/>
                    <a:cs typeface="Arial" pitchFamily="34" charset="0"/>
                  </a:rPr>
                  <a:t> / </a:t>
                </a:r>
                <a:r>
                  <a:rPr lang="ru-RU" sz="700" b="1" i="1" dirty="0" err="1" smtClean="0">
                    <a:latin typeface="Arial" pitchFamily="34" charset="0"/>
                    <a:cs typeface="Arial" pitchFamily="34" charset="0"/>
                  </a:rPr>
                  <a:t>жоспарда</a:t>
                </a:r>
                <a:endParaRPr lang="ru-RU" sz="700" b="1" i="1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8" name="TextBox 97"/>
              <p:cNvSpPr txBox="1"/>
              <p:nvPr/>
            </p:nvSpPr>
            <p:spPr>
              <a:xfrm>
                <a:off x="409917" y="922410"/>
                <a:ext cx="476251" cy="143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700" b="1" i="1" dirty="0" smtClean="0">
                    <a:latin typeface="Arial" pitchFamily="34" charset="0"/>
                    <a:cs typeface="Arial" pitchFamily="34" charset="0"/>
                  </a:rPr>
                  <a:t>- </a:t>
                </a:r>
                <a:r>
                  <a:rPr lang="ru-RU" sz="700" b="1" i="1" dirty="0" err="1">
                    <a:latin typeface="Arial" pitchFamily="34" charset="0"/>
                    <a:cs typeface="Arial" pitchFamily="34" charset="0"/>
                  </a:rPr>
                  <a:t>ж</a:t>
                </a:r>
                <a:r>
                  <a:rPr lang="ru-RU" sz="700" b="1" i="1" dirty="0" err="1" smtClean="0">
                    <a:latin typeface="Arial" pitchFamily="34" charset="0"/>
                    <a:cs typeface="Arial" pitchFamily="34" charset="0"/>
                  </a:rPr>
                  <a:t>еке</a:t>
                </a:r>
                <a:r>
                  <a:rPr lang="ru-RU" sz="700" b="1" i="1" dirty="0" smtClean="0">
                    <a:latin typeface="Arial" pitchFamily="34" charset="0"/>
                    <a:cs typeface="Arial" pitchFamily="34" charset="0"/>
                  </a:rPr>
                  <a:t> ИА</a:t>
                </a:r>
                <a:endParaRPr lang="ru-RU" sz="700" b="1" i="1" dirty="0"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76" name="Скругленный прямоугольник 75"/>
            <p:cNvSpPr/>
            <p:nvPr/>
          </p:nvSpPr>
          <p:spPr>
            <a:xfrm>
              <a:off x="282118" y="3608663"/>
              <a:ext cx="1137404" cy="276363"/>
            </a:xfrm>
            <a:prstGeom prst="roundRect">
              <a:avLst/>
            </a:prstGeom>
            <a:ln w="6350">
              <a:solidFill>
                <a:srgbClr val="002060"/>
              </a:solidFill>
              <a:prstDash val="sysDash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0" tIns="0" rIns="66462" bIns="0" anchor="ctr" anchorCtr="0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ru-RU" sz="1200" kern="10" dirty="0" smtClean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         </a:t>
              </a:r>
              <a:r>
                <a:rPr lang="ru-RU" sz="1200" kern="10" dirty="0" err="1" smtClean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аңғыстау</a:t>
              </a:r>
              <a:r>
                <a:rPr lang="ru-RU" sz="1200" kern="10" dirty="0" smtClean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200" kern="10" dirty="0" err="1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блысы</a:t>
              </a:r>
              <a:endParaRPr lang="ru-RU" sz="1200" kern="10" dirty="0">
                <a:ln w="9525">
                  <a:noFill/>
                  <a:round/>
                  <a:headEnd/>
                  <a:tailEnd/>
                </a:ln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7" name="Овал 76"/>
            <p:cNvSpPr/>
            <p:nvPr/>
          </p:nvSpPr>
          <p:spPr>
            <a:xfrm>
              <a:off x="1281890" y="3535599"/>
              <a:ext cx="68459" cy="68459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 sz="1286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cxnSp>
          <p:nvCxnSpPr>
            <p:cNvPr id="78" name="Прямая соединительная линия 77"/>
            <p:cNvCxnSpPr>
              <a:stCxn id="76" idx="0"/>
              <a:endCxn id="77" idx="2"/>
            </p:cNvCxnSpPr>
            <p:nvPr/>
          </p:nvCxnSpPr>
          <p:spPr>
            <a:xfrm flipV="1">
              <a:off x="850820" y="3569829"/>
              <a:ext cx="431070" cy="38834"/>
            </a:xfrm>
            <a:prstGeom prst="line">
              <a:avLst/>
            </a:prstGeom>
            <a:ln w="31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3" name="Группа 112"/>
          <p:cNvGrpSpPr/>
          <p:nvPr/>
        </p:nvGrpSpPr>
        <p:grpSpPr>
          <a:xfrm>
            <a:off x="6212579" y="6032193"/>
            <a:ext cx="2155065" cy="630707"/>
            <a:chOff x="7229416" y="1715905"/>
            <a:chExt cx="1497620" cy="533411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114" name="Скругленный прямоугольник 113"/>
            <p:cNvSpPr/>
            <p:nvPr/>
          </p:nvSpPr>
          <p:spPr>
            <a:xfrm>
              <a:off x="7252548" y="1715905"/>
              <a:ext cx="1442689" cy="533411"/>
            </a:xfrm>
            <a:prstGeom prst="roundRect">
              <a:avLst>
                <a:gd name="adj" fmla="val 7437"/>
              </a:avLst>
            </a:prstGeom>
            <a:grpFill/>
            <a:ln w="12700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3200">
                <a:solidFill>
                  <a:prstClr val="white"/>
                </a:solidFill>
              </a:endParaRPr>
            </a:p>
          </p:txBody>
        </p:sp>
        <p:sp>
          <p:nvSpPr>
            <p:cNvPr id="115" name="TextBox 114"/>
            <p:cNvSpPr txBox="1"/>
            <p:nvPr/>
          </p:nvSpPr>
          <p:spPr>
            <a:xfrm>
              <a:off x="7229416" y="1723057"/>
              <a:ext cx="1497620" cy="4685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b="1" dirty="0" smtClean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114</a:t>
              </a:r>
              <a:endParaRPr lang="ru-RU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cs typeface="Arial" pitchFamily="34" charset="0"/>
              </a:endParaRPr>
            </a:p>
            <a:p>
              <a:pPr algn="ctr"/>
              <a:r>
                <a:rPr lang="ru-RU" sz="1200" dirty="0" err="1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қолданыстағы</a:t>
              </a:r>
              <a:r>
                <a:rPr lang="ru-RU" sz="1200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  </a:t>
              </a:r>
              <a:r>
                <a:rPr lang="ru-RU" sz="1200" dirty="0" err="1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жобалар</a:t>
              </a:r>
              <a:endParaRPr lang="ru-RU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16" name="Группа 115"/>
          <p:cNvGrpSpPr/>
          <p:nvPr/>
        </p:nvGrpSpPr>
        <p:grpSpPr>
          <a:xfrm>
            <a:off x="2368416" y="5960781"/>
            <a:ext cx="2015503" cy="738664"/>
            <a:chOff x="7250103" y="1669834"/>
            <a:chExt cx="1442689" cy="608295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117" name="Скругленный прямоугольник 116"/>
            <p:cNvSpPr/>
            <p:nvPr/>
          </p:nvSpPr>
          <p:spPr>
            <a:xfrm>
              <a:off x="7250103" y="1715905"/>
              <a:ext cx="1442689" cy="533411"/>
            </a:xfrm>
            <a:prstGeom prst="roundRect">
              <a:avLst>
                <a:gd name="adj" fmla="val 7437"/>
              </a:avLst>
            </a:prstGeom>
            <a:grpFill/>
            <a:ln w="12700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3200">
                <a:solidFill>
                  <a:prstClr val="white"/>
                </a:solidFill>
              </a:endParaRPr>
            </a:p>
          </p:txBody>
        </p:sp>
        <p:sp>
          <p:nvSpPr>
            <p:cNvPr id="118" name="TextBox 117"/>
            <p:cNvSpPr txBox="1"/>
            <p:nvPr/>
          </p:nvSpPr>
          <p:spPr>
            <a:xfrm>
              <a:off x="7290575" y="1669834"/>
              <a:ext cx="1367729" cy="6082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b="1" dirty="0" smtClean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212</a:t>
              </a:r>
              <a:endParaRPr lang="ru-RU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cs typeface="Arial" pitchFamily="34" charset="0"/>
              </a:endParaRPr>
            </a:p>
            <a:p>
              <a:pPr algn="ctr"/>
              <a:r>
                <a:rPr lang="ru-RU" sz="1200" dirty="0" err="1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жоба</a:t>
              </a:r>
              <a:r>
                <a:rPr lang="ru-RU" sz="1200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sz="1200" dirty="0" err="1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іске</a:t>
              </a:r>
              <a:r>
                <a:rPr lang="ru-RU" sz="1200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sz="1200" dirty="0" err="1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асыру</a:t>
              </a:r>
              <a:r>
                <a:rPr lang="ru-RU" sz="1200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sz="1200" dirty="0" err="1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кезеңінде</a:t>
              </a:r>
              <a:endParaRPr lang="ru-RU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19" name="Группа 118"/>
          <p:cNvGrpSpPr/>
          <p:nvPr/>
        </p:nvGrpSpPr>
        <p:grpSpPr>
          <a:xfrm>
            <a:off x="8271612" y="6662569"/>
            <a:ext cx="2475265" cy="738667"/>
            <a:chOff x="7181821" y="1662198"/>
            <a:chExt cx="1594930" cy="611487"/>
          </a:xfrm>
        </p:grpSpPr>
        <p:sp>
          <p:nvSpPr>
            <p:cNvPr id="120" name="Скругленный прямоугольник 119"/>
            <p:cNvSpPr/>
            <p:nvPr/>
          </p:nvSpPr>
          <p:spPr>
            <a:xfrm>
              <a:off x="7252548" y="1715905"/>
              <a:ext cx="1442689" cy="533411"/>
            </a:xfrm>
            <a:prstGeom prst="roundRect">
              <a:avLst>
                <a:gd name="adj" fmla="val 7437"/>
              </a:avLst>
            </a:prstGeom>
            <a:noFill/>
            <a:ln w="12700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3200">
                <a:solidFill>
                  <a:prstClr val="white"/>
                </a:solidFill>
              </a:endParaRPr>
            </a:p>
          </p:txBody>
        </p:sp>
        <p:sp>
          <p:nvSpPr>
            <p:cNvPr id="121" name="TextBox 120"/>
            <p:cNvSpPr txBox="1"/>
            <p:nvPr/>
          </p:nvSpPr>
          <p:spPr>
            <a:xfrm>
              <a:off x="7181821" y="1662198"/>
              <a:ext cx="1594930" cy="6114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b="1" dirty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25,6 %</a:t>
              </a:r>
            </a:p>
            <a:p>
              <a:pPr algn="ctr"/>
              <a:r>
                <a:rPr lang="ru-RU" sz="1200" dirty="0" err="1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Шетелдік</a:t>
              </a:r>
              <a:r>
                <a:rPr lang="ru-RU" sz="1200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sz="1200" dirty="0" err="1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инвестициялардың</a:t>
              </a:r>
              <a:r>
                <a:rPr lang="ru-RU" sz="1200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sz="1200" dirty="0" err="1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үлесі</a:t>
              </a:r>
              <a:endParaRPr lang="ru-RU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22" name="Группа 121"/>
          <p:cNvGrpSpPr/>
          <p:nvPr/>
        </p:nvGrpSpPr>
        <p:grpSpPr>
          <a:xfrm>
            <a:off x="5960798" y="6659873"/>
            <a:ext cx="2475265" cy="738664"/>
            <a:chOff x="7175684" y="1661151"/>
            <a:chExt cx="1594930" cy="611488"/>
          </a:xfrm>
        </p:grpSpPr>
        <p:sp>
          <p:nvSpPr>
            <p:cNvPr id="123" name="Скругленный прямоугольник 122"/>
            <p:cNvSpPr/>
            <p:nvPr/>
          </p:nvSpPr>
          <p:spPr>
            <a:xfrm>
              <a:off x="7252548" y="1715905"/>
              <a:ext cx="1442689" cy="533411"/>
            </a:xfrm>
            <a:prstGeom prst="roundRect">
              <a:avLst>
                <a:gd name="adj" fmla="val 7437"/>
              </a:avLst>
            </a:prstGeom>
            <a:noFill/>
            <a:ln w="12700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3200">
                <a:solidFill>
                  <a:prstClr val="white"/>
                </a:solidFill>
              </a:endParaRPr>
            </a:p>
          </p:txBody>
        </p:sp>
        <p:sp>
          <p:nvSpPr>
            <p:cNvPr id="124" name="TextBox 123"/>
            <p:cNvSpPr txBox="1"/>
            <p:nvPr/>
          </p:nvSpPr>
          <p:spPr>
            <a:xfrm>
              <a:off x="7175684" y="1661151"/>
              <a:ext cx="1594930" cy="6114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b="1" dirty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14,2 </a:t>
              </a:r>
              <a:r>
                <a:rPr lang="kk-KZ" b="1" dirty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млрд. тг.</a:t>
              </a:r>
              <a:endParaRPr lang="ru-RU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cs typeface="Arial" pitchFamily="34" charset="0"/>
              </a:endParaRPr>
            </a:p>
            <a:p>
              <a:pPr algn="ctr"/>
              <a:r>
                <a:rPr lang="ru-RU" sz="1200" dirty="0" err="1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Салықтық</a:t>
              </a:r>
              <a:r>
                <a:rPr lang="ru-RU" sz="1200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sz="1200" dirty="0" err="1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аударымдар</a:t>
              </a:r>
              <a:r>
                <a:rPr lang="ru-RU" sz="1200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sz="1200" dirty="0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/>
              </a:r>
              <a:br>
                <a:rPr lang="ru-RU" sz="1200" dirty="0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</a:br>
              <a:r>
                <a:rPr lang="ru-RU" sz="1200" dirty="0" err="1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сомасы</a:t>
              </a:r>
              <a:endParaRPr lang="ru-RU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25" name="Группа 124"/>
          <p:cNvGrpSpPr/>
          <p:nvPr/>
        </p:nvGrpSpPr>
        <p:grpSpPr>
          <a:xfrm>
            <a:off x="2276284" y="6730998"/>
            <a:ext cx="2475265" cy="644349"/>
            <a:chOff x="7187958" y="1715905"/>
            <a:chExt cx="1594930" cy="533411"/>
          </a:xfrm>
        </p:grpSpPr>
        <p:sp>
          <p:nvSpPr>
            <p:cNvPr id="126" name="Скругленный прямоугольник 125"/>
            <p:cNvSpPr/>
            <p:nvPr/>
          </p:nvSpPr>
          <p:spPr>
            <a:xfrm>
              <a:off x="7252548" y="1715905"/>
              <a:ext cx="1442689" cy="533411"/>
            </a:xfrm>
            <a:prstGeom prst="roundRect">
              <a:avLst>
                <a:gd name="adj" fmla="val 7437"/>
              </a:avLst>
            </a:prstGeom>
            <a:noFill/>
            <a:ln w="12700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3200">
                <a:solidFill>
                  <a:prstClr val="white"/>
                </a:solidFill>
              </a:endParaRPr>
            </a:p>
          </p:txBody>
        </p:sp>
        <p:sp>
          <p:nvSpPr>
            <p:cNvPr id="127" name="TextBox 126"/>
            <p:cNvSpPr txBox="1"/>
            <p:nvPr/>
          </p:nvSpPr>
          <p:spPr>
            <a:xfrm>
              <a:off x="7187958" y="1754194"/>
              <a:ext cx="1594930" cy="4586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b="1" dirty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160,06 </a:t>
              </a:r>
              <a:r>
                <a:rPr lang="kk-KZ" b="1" dirty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млрд. тг.</a:t>
              </a:r>
              <a:r>
                <a:rPr lang="ru-RU" b="1" dirty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 </a:t>
              </a:r>
            </a:p>
            <a:p>
              <a:pPr algn="ctr"/>
              <a:r>
                <a:rPr lang="kk-KZ" sz="1200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Өндіріс көлемі</a:t>
              </a:r>
              <a:endParaRPr lang="ru-RU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28" name="Группа 127"/>
          <p:cNvGrpSpPr/>
          <p:nvPr/>
        </p:nvGrpSpPr>
        <p:grpSpPr>
          <a:xfrm>
            <a:off x="8956" y="6729586"/>
            <a:ext cx="2475265" cy="644349"/>
            <a:chOff x="7206369" y="1715905"/>
            <a:chExt cx="1594930" cy="533411"/>
          </a:xfrm>
        </p:grpSpPr>
        <p:sp>
          <p:nvSpPr>
            <p:cNvPr id="129" name="Скругленный прямоугольник 128"/>
            <p:cNvSpPr/>
            <p:nvPr/>
          </p:nvSpPr>
          <p:spPr>
            <a:xfrm>
              <a:off x="7252548" y="1715905"/>
              <a:ext cx="1442689" cy="533411"/>
            </a:xfrm>
            <a:prstGeom prst="roundRect">
              <a:avLst>
                <a:gd name="adj" fmla="val 7437"/>
              </a:avLst>
            </a:prstGeom>
            <a:noFill/>
            <a:ln w="12700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3200">
                <a:solidFill>
                  <a:prstClr val="white"/>
                </a:solidFill>
              </a:endParaRPr>
            </a:p>
          </p:txBody>
        </p:sp>
        <p:sp>
          <p:nvSpPr>
            <p:cNvPr id="130" name="TextBox 129"/>
            <p:cNvSpPr txBox="1"/>
            <p:nvPr/>
          </p:nvSpPr>
          <p:spPr>
            <a:xfrm>
              <a:off x="7206369" y="1754194"/>
              <a:ext cx="1594930" cy="4586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b="1" dirty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100 </a:t>
              </a:r>
              <a:r>
                <a:rPr lang="kk-KZ" b="1" dirty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млрд. тг. </a:t>
              </a:r>
              <a:endParaRPr lang="ru-RU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cs typeface="Arial" pitchFamily="34" charset="0"/>
              </a:endParaRPr>
            </a:p>
            <a:p>
              <a:pPr algn="ctr"/>
              <a:r>
                <a:rPr lang="kk-KZ" sz="1200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Инвестиции в проекты </a:t>
              </a:r>
              <a:r>
                <a:rPr lang="ru-RU" sz="1200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И</a:t>
              </a:r>
              <a:r>
                <a:rPr lang="kk-KZ" sz="1200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З</a:t>
              </a:r>
              <a:endParaRPr lang="ru-RU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31" name="Группа 130"/>
          <p:cNvGrpSpPr/>
          <p:nvPr/>
        </p:nvGrpSpPr>
        <p:grpSpPr>
          <a:xfrm>
            <a:off x="5011" y="5814762"/>
            <a:ext cx="2475265" cy="846311"/>
            <a:chOff x="7206369" y="1715905"/>
            <a:chExt cx="1594930" cy="533411"/>
          </a:xfrm>
        </p:grpSpPr>
        <p:sp>
          <p:nvSpPr>
            <p:cNvPr id="132" name="Скругленный прямоугольник 131"/>
            <p:cNvSpPr/>
            <p:nvPr/>
          </p:nvSpPr>
          <p:spPr>
            <a:xfrm>
              <a:off x="7252548" y="1715905"/>
              <a:ext cx="1442689" cy="533411"/>
            </a:xfrm>
            <a:prstGeom prst="roundRect">
              <a:avLst>
                <a:gd name="adj" fmla="val 7437"/>
              </a:avLst>
            </a:prstGeom>
            <a:noFill/>
            <a:ln w="12700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3200">
                <a:solidFill>
                  <a:prstClr val="white"/>
                </a:solidFill>
              </a:endParaRPr>
            </a:p>
          </p:txBody>
        </p:sp>
        <p:sp>
          <p:nvSpPr>
            <p:cNvPr id="133" name="TextBox 132"/>
            <p:cNvSpPr txBox="1"/>
            <p:nvPr/>
          </p:nvSpPr>
          <p:spPr>
            <a:xfrm>
              <a:off x="7206369" y="1754194"/>
              <a:ext cx="1594930" cy="4586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7</a:t>
              </a:r>
              <a:r>
                <a:rPr lang="ru-RU" b="1" dirty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075</a:t>
              </a:r>
              <a:r>
                <a:rPr lang="en-US" b="1" dirty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 </a:t>
              </a:r>
              <a:endParaRPr lang="ru-RU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cs typeface="Arial" pitchFamily="34" charset="0"/>
              </a:endParaRPr>
            </a:p>
            <a:p>
              <a:pPr algn="ctr"/>
              <a:r>
                <a:rPr lang="ru-RU" sz="1200" dirty="0" err="1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Тұрақты</a:t>
              </a:r>
              <a:r>
                <a:rPr lang="ru-RU" sz="1200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sz="1200" dirty="0" err="1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жұмыс</a:t>
              </a:r>
              <a:r>
                <a:rPr lang="ru-RU" sz="1200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sz="1200" dirty="0" err="1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орындары</a:t>
              </a:r>
              <a:endParaRPr lang="ru-RU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91" name="Прямоугольник 190"/>
          <p:cNvSpPr/>
          <p:nvPr/>
        </p:nvSpPr>
        <p:spPr>
          <a:xfrm>
            <a:off x="660837" y="1753626"/>
            <a:ext cx="360040" cy="3291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1</a:t>
            </a:r>
            <a:endParaRPr lang="ru-RU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2" name="Прямоугольник 191"/>
          <p:cNvSpPr/>
          <p:nvPr/>
        </p:nvSpPr>
        <p:spPr>
          <a:xfrm>
            <a:off x="778841" y="2706156"/>
            <a:ext cx="792088" cy="3291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accent6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3</a:t>
            </a:r>
            <a:r>
              <a:rPr lang="ru-RU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/1</a:t>
            </a:r>
            <a:endParaRPr lang="ru-RU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3" name="Прямоугольник 192"/>
          <p:cNvSpPr/>
          <p:nvPr/>
        </p:nvSpPr>
        <p:spPr>
          <a:xfrm>
            <a:off x="436679" y="4714387"/>
            <a:ext cx="360040" cy="3291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1</a:t>
            </a:r>
            <a:endParaRPr lang="ru-RU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4" name="Прямоугольник 193"/>
          <p:cNvSpPr/>
          <p:nvPr/>
        </p:nvSpPr>
        <p:spPr>
          <a:xfrm>
            <a:off x="2201418" y="3603049"/>
            <a:ext cx="653577" cy="3291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6</a:t>
            </a:r>
            <a:r>
              <a:rPr lang="ru-RU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/2</a:t>
            </a:r>
            <a:endParaRPr lang="ru-RU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5" name="Прямоугольник 194"/>
          <p:cNvSpPr/>
          <p:nvPr/>
        </p:nvSpPr>
        <p:spPr>
          <a:xfrm>
            <a:off x="3366489" y="4549802"/>
            <a:ext cx="653577" cy="3291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9</a:t>
            </a:r>
            <a:r>
              <a:rPr lang="ru-RU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/2</a:t>
            </a:r>
            <a:endParaRPr lang="ru-RU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6" name="Прямоугольник 195"/>
          <p:cNvSpPr/>
          <p:nvPr/>
        </p:nvSpPr>
        <p:spPr>
          <a:xfrm>
            <a:off x="5895089" y="2688746"/>
            <a:ext cx="458634" cy="3291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1</a:t>
            </a:r>
          </a:p>
        </p:txBody>
      </p:sp>
      <p:sp>
        <p:nvSpPr>
          <p:cNvPr id="197" name="Прямоугольник 196"/>
          <p:cNvSpPr/>
          <p:nvPr/>
        </p:nvSpPr>
        <p:spPr>
          <a:xfrm>
            <a:off x="3672244" y="2298924"/>
            <a:ext cx="360040" cy="3291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1</a:t>
            </a:r>
            <a:endParaRPr lang="ru-RU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8" name="Прямоугольник 197"/>
          <p:cNvSpPr/>
          <p:nvPr/>
        </p:nvSpPr>
        <p:spPr>
          <a:xfrm>
            <a:off x="3261643" y="1490883"/>
            <a:ext cx="360040" cy="3291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2</a:t>
            </a:r>
          </a:p>
        </p:txBody>
      </p:sp>
      <p:sp>
        <p:nvSpPr>
          <p:cNvPr id="199" name="Прямоугольник 198"/>
          <p:cNvSpPr/>
          <p:nvPr/>
        </p:nvSpPr>
        <p:spPr>
          <a:xfrm>
            <a:off x="5731344" y="1401983"/>
            <a:ext cx="360040" cy="3291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1</a:t>
            </a:r>
            <a:endParaRPr lang="ru-RU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0" name="Прямоугольник 199"/>
          <p:cNvSpPr/>
          <p:nvPr/>
        </p:nvSpPr>
        <p:spPr>
          <a:xfrm>
            <a:off x="8620575" y="1088718"/>
            <a:ext cx="360040" cy="3291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2</a:t>
            </a:r>
          </a:p>
        </p:txBody>
      </p:sp>
      <p:sp>
        <p:nvSpPr>
          <p:cNvPr id="201" name="Прямоугольник 200"/>
          <p:cNvSpPr/>
          <p:nvPr/>
        </p:nvSpPr>
        <p:spPr>
          <a:xfrm>
            <a:off x="8442835" y="2063941"/>
            <a:ext cx="526260" cy="3291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1</a:t>
            </a:r>
            <a:r>
              <a:rPr lang="ru-RU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/2</a:t>
            </a:r>
            <a:endParaRPr lang="ru-RU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4" name="Прямоугольник 203"/>
          <p:cNvSpPr/>
          <p:nvPr/>
        </p:nvSpPr>
        <p:spPr>
          <a:xfrm>
            <a:off x="8360587" y="5003004"/>
            <a:ext cx="360040" cy="3291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1</a:t>
            </a:r>
            <a:endParaRPr lang="ru-RU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5" name="Прямоугольник 204"/>
          <p:cNvSpPr/>
          <p:nvPr/>
        </p:nvSpPr>
        <p:spPr>
          <a:xfrm>
            <a:off x="8048681" y="3697784"/>
            <a:ext cx="691952" cy="3291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1</a:t>
            </a:r>
            <a:r>
              <a:rPr lang="ru-RU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/</a:t>
            </a:r>
            <a:r>
              <a:rPr lang="ru-RU" b="1" dirty="0" smtClean="0">
                <a:solidFill>
                  <a:schemeClr val="accent6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1</a:t>
            </a:r>
            <a:r>
              <a:rPr lang="ru-RU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/5</a:t>
            </a:r>
            <a:endParaRPr lang="ru-RU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6" name="Прямоугольник 205"/>
          <p:cNvSpPr/>
          <p:nvPr/>
        </p:nvSpPr>
        <p:spPr>
          <a:xfrm>
            <a:off x="5033206" y="3950837"/>
            <a:ext cx="792088" cy="3291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accent6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1</a:t>
            </a:r>
            <a:r>
              <a:rPr lang="ru-RU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/4</a:t>
            </a:r>
            <a:endParaRPr lang="ru-RU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9661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Прямоугольник 27"/>
          <p:cNvSpPr/>
          <p:nvPr/>
        </p:nvSpPr>
        <p:spPr>
          <a:xfrm>
            <a:off x="0" y="0"/>
            <a:ext cx="10693400" cy="49541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15" tIns="52157" rIns="104315" bIns="52157" rtlCol="0" anchor="ctr"/>
          <a:lstStyle/>
          <a:p>
            <a:pPr algn="ctr"/>
            <a:r>
              <a:rPr lang="ru-RU" sz="2300" b="1" dirty="0" err="1" smtClean="0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Аймақтар</a:t>
            </a:r>
            <a:r>
              <a:rPr lang="ru-RU" sz="2300" b="1" dirty="0" smtClean="0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 </a:t>
            </a:r>
            <a:r>
              <a:rPr lang="ru-RU" sz="2300" b="1" dirty="0" err="1" smtClean="0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қызметінің</a:t>
            </a:r>
            <a:r>
              <a:rPr lang="ru-RU" sz="2300" b="1" dirty="0" smtClean="0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 </a:t>
            </a:r>
            <a:r>
              <a:rPr lang="ru-RU" sz="2300" b="1" dirty="0" err="1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тиімділігі</a:t>
            </a:r>
            <a:endParaRPr lang="ru-RU" sz="2300" b="1" dirty="0">
              <a:solidFill>
                <a:prstClr val="white"/>
              </a:solidFill>
              <a:latin typeface="Arial" pitchFamily="34" charset="0"/>
              <a:ea typeface="Segoe UI" pitchFamily="34" charset="0"/>
              <a:cs typeface="Arial" pitchFamily="34" charset="0"/>
            </a:endParaRPr>
          </a:p>
        </p:txBody>
      </p:sp>
      <p:sp>
        <p:nvSpPr>
          <p:cNvPr id="30" name="Стрелка вправо 29"/>
          <p:cNvSpPr/>
          <p:nvPr/>
        </p:nvSpPr>
        <p:spPr>
          <a:xfrm>
            <a:off x="5018744" y="4027545"/>
            <a:ext cx="687189" cy="609230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algn="ctr">
              <a:defRPr/>
            </a:pPr>
            <a:endParaRPr lang="ru-RU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TextBox 47"/>
          <p:cNvSpPr txBox="1">
            <a:spLocks noChangeArrowheads="1"/>
          </p:cNvSpPr>
          <p:nvPr/>
        </p:nvSpPr>
        <p:spPr bwMode="auto">
          <a:xfrm>
            <a:off x="5850756" y="3803365"/>
            <a:ext cx="4691709" cy="1057588"/>
          </a:xfrm>
          <a:prstGeom prst="rect">
            <a:avLst/>
          </a:prstGeom>
          <a:noFill/>
          <a:ln w="9525">
            <a:solidFill>
              <a:srgbClr val="00B05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72000" tIns="36000" rIns="0" bIns="36000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R="469265" algn="just" eaLnBrk="1" hangingPunct="1">
              <a:buClr>
                <a:srgbClr val="00B050"/>
              </a:buClr>
              <a:tabLst>
                <a:tab pos="488950" algn="l"/>
              </a:tabLst>
            </a:pPr>
            <a:r>
              <a:rPr lang="ru-RU" sz="1600" b="1" dirty="0" err="1">
                <a:latin typeface="Arial" pitchFamily="34" charset="0"/>
                <a:cs typeface="Arial" pitchFamily="34" charset="0"/>
              </a:rPr>
              <a:t>Жер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dirty="0" err="1">
                <a:latin typeface="Arial" pitchFamily="34" charset="0"/>
                <a:cs typeface="Arial" pitchFamily="34" charset="0"/>
              </a:rPr>
              <a:t>учаскелерін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dirty="0" err="1">
                <a:latin typeface="Arial" pitchFamily="34" charset="0"/>
                <a:cs typeface="Arial" pitchFamily="34" charset="0"/>
              </a:rPr>
              <a:t>тәуелсіз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dirty="0" err="1">
                <a:latin typeface="Arial" pitchFamily="34" charset="0"/>
                <a:cs typeface="Arial" pitchFamily="34" charset="0"/>
              </a:rPr>
              <a:t>сегменттеу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dirty="0" err="1">
                <a:latin typeface="Arial" pitchFamily="34" charset="0"/>
                <a:cs typeface="Arial" pitchFamily="34" charset="0"/>
              </a:rPr>
              <a:t>және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 АЭА / ИА </a:t>
            </a:r>
            <a:r>
              <a:rPr lang="ru-RU" sz="1600" b="1" dirty="0" err="1">
                <a:latin typeface="Arial" pitchFamily="34" charset="0"/>
                <a:cs typeface="Arial" pitchFamily="34" charset="0"/>
              </a:rPr>
              <a:t>қатысушыларына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 беру </a:t>
            </a:r>
            <a:r>
              <a:rPr lang="ru-RU" sz="1600" b="1" dirty="0" err="1">
                <a:latin typeface="Arial" pitchFamily="34" charset="0"/>
                <a:cs typeface="Arial" pitchFamily="34" charset="0"/>
              </a:rPr>
              <a:t>үшін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dirty="0" err="1">
                <a:latin typeface="Arial" pitchFamily="34" charset="0"/>
                <a:cs typeface="Arial" pitchFamily="34" charset="0"/>
              </a:rPr>
              <a:t>оларды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dirty="0" err="1">
                <a:latin typeface="Arial" pitchFamily="34" charset="0"/>
                <a:cs typeface="Arial" pitchFamily="34" charset="0"/>
              </a:rPr>
              <a:t>басқарушы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dirty="0" err="1">
                <a:latin typeface="Arial" pitchFamily="34" charset="0"/>
                <a:cs typeface="Arial" pitchFamily="34" charset="0"/>
              </a:rPr>
              <a:t>компанияларға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 беру </a:t>
            </a:r>
            <a:r>
              <a:rPr lang="ru-RU" sz="1600" b="1" dirty="0" err="1">
                <a:latin typeface="Arial" pitchFamily="34" charset="0"/>
                <a:cs typeface="Arial" pitchFamily="34" charset="0"/>
              </a:rPr>
              <a:t>жолымен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dirty="0" err="1">
                <a:latin typeface="Arial" pitchFamily="34" charset="0"/>
                <a:cs typeface="Arial" pitchFamily="34" charset="0"/>
              </a:rPr>
              <a:t>оңтайландыру</a:t>
            </a:r>
            <a:endParaRPr lang="ru-RU" sz="16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160137" y="3306505"/>
            <a:ext cx="3674395" cy="577024"/>
          </a:xfrm>
          <a:prstGeom prst="roundRect">
            <a:avLst>
              <a:gd name="adj" fmla="val 43365"/>
            </a:avLst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r>
              <a:rPr lang="ru-RU" sz="1600" b="1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Жер</a:t>
            </a:r>
            <a:r>
              <a:rPr lang="ru-RU" sz="1600" b="1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учаскелерін</a:t>
            </a:r>
            <a:r>
              <a:rPr lang="ru-RU" sz="1600" b="1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spc="5" dirty="0" err="1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алудың</a:t>
            </a:r>
            <a:r>
              <a:rPr lang="ru-RU" sz="1600" b="1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spc="5" dirty="0" err="1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ұзақ</a:t>
            </a:r>
            <a:r>
              <a:rPr lang="ru-RU" sz="1600" b="1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spc="5" dirty="0" err="1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рәсімдері</a:t>
            </a:r>
            <a:endParaRPr lang="ru-RU" sz="1600" b="1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Стрелка вправо 41"/>
          <p:cNvSpPr/>
          <p:nvPr/>
        </p:nvSpPr>
        <p:spPr>
          <a:xfrm>
            <a:off x="5018744" y="6285068"/>
            <a:ext cx="687189" cy="609230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algn="ctr">
              <a:defRPr/>
            </a:pPr>
            <a:endParaRPr lang="ru-RU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TextBox 48"/>
          <p:cNvSpPr txBox="1">
            <a:spLocks noChangeArrowheads="1"/>
          </p:cNvSpPr>
          <p:nvPr/>
        </p:nvSpPr>
        <p:spPr bwMode="auto">
          <a:xfrm>
            <a:off x="5850756" y="6060889"/>
            <a:ext cx="4691709" cy="1303809"/>
          </a:xfrm>
          <a:prstGeom prst="rect">
            <a:avLst/>
          </a:prstGeom>
          <a:noFill/>
          <a:ln w="9525">
            <a:solidFill>
              <a:srgbClr val="00B05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just" eaLnBrk="1" hangingPunct="1"/>
            <a:r>
              <a:rPr lang="ru-RU" sz="1600" b="1" dirty="0">
                <a:latin typeface="Arial" pitchFamily="34" charset="0"/>
                <a:cs typeface="Arial" pitchFamily="34" charset="0"/>
              </a:rPr>
              <a:t>«</a:t>
            </a:r>
            <a:r>
              <a:rPr lang="ru-RU" sz="1600" b="1" dirty="0" err="1">
                <a:latin typeface="Arial" pitchFamily="34" charset="0"/>
                <a:cs typeface="Arial" pitchFamily="34" charset="0"/>
              </a:rPr>
              <a:t>Бір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dirty="0" err="1">
                <a:latin typeface="Arial" pitchFamily="34" charset="0"/>
                <a:cs typeface="Arial" pitchFamily="34" charset="0"/>
              </a:rPr>
              <a:t>терезе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» </a:t>
            </a:r>
            <a:r>
              <a:rPr lang="ru-RU" sz="1600" b="1" dirty="0" err="1">
                <a:latin typeface="Arial" pitchFamily="34" charset="0"/>
                <a:cs typeface="Arial" pitchFamily="34" charset="0"/>
              </a:rPr>
              <a:t>қағидаты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dirty="0" err="1">
                <a:latin typeface="Arial" pitchFamily="34" charset="0"/>
                <a:cs typeface="Arial" pitchFamily="34" charset="0"/>
              </a:rPr>
              <a:t>бойынша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dirty="0" err="1">
                <a:latin typeface="Arial" pitchFamily="34" charset="0"/>
                <a:cs typeface="Arial" pitchFamily="34" charset="0"/>
              </a:rPr>
              <a:t>инвесторлармен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dirty="0" err="1">
                <a:latin typeface="Arial" pitchFamily="34" charset="0"/>
                <a:cs typeface="Arial" pitchFamily="34" charset="0"/>
              </a:rPr>
              <a:t>өзара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dirty="0" err="1">
                <a:latin typeface="Arial" pitchFamily="34" charset="0"/>
                <a:cs typeface="Arial" pitchFamily="34" charset="0"/>
              </a:rPr>
              <a:t>әрекеттесу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dirty="0" err="1">
                <a:latin typeface="Arial" pitchFamily="34" charset="0"/>
                <a:cs typeface="Arial" pitchFamily="34" charset="0"/>
              </a:rPr>
              <a:t>арқылы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 </a:t>
            </a:r>
            <a:r>
              <a:rPr lang="kk-KZ" sz="1600" b="1" dirty="0" smtClean="0">
                <a:latin typeface="Arial" pitchFamily="34" charset="0"/>
                <a:cs typeface="Arial" pitchFamily="34" charset="0"/>
              </a:rPr>
              <a:t>АЭА/ИА </a:t>
            </a:r>
            <a:r>
              <a:rPr lang="ru-RU" sz="1600" b="1" dirty="0" err="1" smtClean="0">
                <a:latin typeface="Arial" pitchFamily="34" charset="0"/>
                <a:cs typeface="Arial" pitchFamily="34" charset="0"/>
              </a:rPr>
              <a:t>басқарушы</a:t>
            </a: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dirty="0" err="1">
                <a:latin typeface="Arial" pitchFamily="34" charset="0"/>
                <a:cs typeface="Arial" pitchFamily="34" charset="0"/>
              </a:rPr>
              <a:t>компаниялардың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dirty="0" err="1">
                <a:latin typeface="Arial" pitchFamily="34" charset="0"/>
                <a:cs typeface="Arial" pitchFamily="34" charset="0"/>
              </a:rPr>
              <a:t>функционалдығын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dirty="0" err="1">
                <a:latin typeface="Arial" pitchFamily="34" charset="0"/>
                <a:cs typeface="Arial" pitchFamily="34" charset="0"/>
              </a:rPr>
              <a:t>кеңейту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dirty="0" err="1">
                <a:latin typeface="Arial" pitchFamily="34" charset="0"/>
                <a:cs typeface="Arial" pitchFamily="34" charset="0"/>
              </a:rPr>
              <a:t>және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dirty="0" err="1">
                <a:latin typeface="Arial" pitchFamily="34" charset="0"/>
                <a:cs typeface="Arial" pitchFamily="34" charset="0"/>
              </a:rPr>
              <a:t>мәртебесін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dirty="0" err="1">
                <a:latin typeface="Arial" pitchFamily="34" charset="0"/>
                <a:cs typeface="Arial" pitchFamily="34" charset="0"/>
              </a:rPr>
              <a:t>күшейту</a:t>
            </a:r>
            <a:endParaRPr lang="ru-RU" sz="16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160137" y="1139661"/>
            <a:ext cx="3674395" cy="614818"/>
          </a:xfrm>
          <a:prstGeom prst="roundRect">
            <a:avLst>
              <a:gd name="adj" fmla="val 50000"/>
            </a:avLst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r>
              <a:rPr lang="ru-RU" sz="1600" b="1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ИА </a:t>
            </a:r>
            <a:r>
              <a:rPr lang="ru-RU" sz="1600" b="1" spc="5" dirty="0" err="1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қызметінің</a:t>
            </a:r>
            <a:r>
              <a:rPr lang="ru-RU" sz="1600" b="1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заңнамалық</a:t>
            </a:r>
            <a:r>
              <a:rPr lang="ru-RU" sz="1600" b="1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spc="5" dirty="0" err="1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базасының</a:t>
            </a:r>
            <a:r>
              <a:rPr lang="ru-RU" sz="1600" b="1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spc="5" dirty="0" err="1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жоқтығы</a:t>
            </a:r>
            <a:endParaRPr lang="ru-RU" sz="1600" b="1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Стрелка вправо 18"/>
          <p:cNvSpPr/>
          <p:nvPr/>
        </p:nvSpPr>
        <p:spPr>
          <a:xfrm>
            <a:off x="5018744" y="1744373"/>
            <a:ext cx="687189" cy="609230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algn="ctr">
              <a:defRPr/>
            </a:pPr>
            <a:endParaRPr lang="ru-RU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TextBox 19"/>
          <p:cNvSpPr txBox="1">
            <a:spLocks noChangeArrowheads="1"/>
          </p:cNvSpPr>
          <p:nvPr/>
        </p:nvSpPr>
        <p:spPr bwMode="auto">
          <a:xfrm>
            <a:off x="5851382" y="1397083"/>
            <a:ext cx="4690457" cy="1057588"/>
          </a:xfrm>
          <a:prstGeom prst="rect">
            <a:avLst/>
          </a:prstGeom>
          <a:noFill/>
          <a:ln w="9525">
            <a:solidFill>
              <a:srgbClr val="00B05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36000" tIns="36000" rIns="36000" bIns="360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sz="1600" b="1" dirty="0" err="1">
                <a:latin typeface="Arial" pitchFamily="34" charset="0"/>
                <a:cs typeface="Arial" pitchFamily="34" charset="0"/>
              </a:rPr>
              <a:t>Заңнамалық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dirty="0" err="1" smtClean="0">
                <a:latin typeface="Arial" pitchFamily="34" charset="0"/>
                <a:cs typeface="Arial" pitchFamily="34" charset="0"/>
              </a:rPr>
              <a:t>анықтау</a:t>
            </a: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:</a:t>
            </a:r>
          </a:p>
          <a:p>
            <a:pPr marL="285750" indent="-285750" algn="just" eaLnBrk="1" hangingPunct="1">
              <a:buFont typeface="Wingdings" pitchFamily="2" charset="2"/>
              <a:buChar char="Ø"/>
            </a:pP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ИА </a:t>
            </a:r>
            <a:r>
              <a:rPr lang="ru-RU" sz="1600" b="1" dirty="0" err="1" smtClean="0">
                <a:latin typeface="Arial" pitchFamily="34" charset="0"/>
                <a:cs typeface="Arial" pitchFamily="34" charset="0"/>
              </a:rPr>
              <a:t>құру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, </a:t>
            </a:r>
            <a:r>
              <a:rPr lang="ru-RU" sz="1600" b="1" dirty="0" err="1">
                <a:latin typeface="Arial" pitchFamily="34" charset="0"/>
                <a:cs typeface="Arial" pitchFamily="34" charset="0"/>
              </a:rPr>
              <a:t>жұмыс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dirty="0" err="1">
                <a:latin typeface="Arial" pitchFamily="34" charset="0"/>
                <a:cs typeface="Arial" pitchFamily="34" charset="0"/>
              </a:rPr>
              <a:t>істеу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dirty="0" err="1">
                <a:latin typeface="Arial" pitchFamily="34" charset="0"/>
                <a:cs typeface="Arial" pitchFamily="34" charset="0"/>
              </a:rPr>
              <a:t>және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dirty="0" err="1">
                <a:latin typeface="Arial" pitchFamily="34" charset="0"/>
                <a:cs typeface="Arial" pitchFamily="34" charset="0"/>
              </a:rPr>
              <a:t>жою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dirty="0" err="1" smtClean="0">
                <a:latin typeface="Arial" pitchFamily="34" charset="0"/>
                <a:cs typeface="Arial" pitchFamily="34" charset="0"/>
              </a:rPr>
              <a:t>тәртібі</a:t>
            </a: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;</a:t>
            </a:r>
          </a:p>
          <a:p>
            <a:pPr marL="285750" indent="-285750" algn="just" eaLnBrk="1" hangingPunct="1">
              <a:buFont typeface="Wingdings" pitchFamily="2" charset="2"/>
              <a:buChar char="Ø"/>
            </a:pPr>
            <a:r>
              <a:rPr lang="ru-RU" sz="1600" b="1" dirty="0" err="1" smtClean="0">
                <a:latin typeface="Arial" pitchFamily="34" charset="0"/>
                <a:cs typeface="Arial" pitchFamily="34" charset="0"/>
              </a:rPr>
              <a:t>басқару</a:t>
            </a: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dirty="0" err="1" smtClean="0">
                <a:latin typeface="Arial" pitchFamily="34" charset="0"/>
                <a:cs typeface="Arial" pitchFamily="34" charset="0"/>
              </a:rPr>
              <a:t>компаниялары</a:t>
            </a: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 функционалы;</a:t>
            </a:r>
          </a:p>
          <a:p>
            <a:pPr marL="285750" indent="-285750" algn="just" eaLnBrk="1" hangingPunct="1">
              <a:buFont typeface="Wingdings" pitchFamily="2" charset="2"/>
              <a:buChar char="Ø"/>
            </a:pP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ИА </a:t>
            </a:r>
            <a:r>
              <a:rPr lang="ru-RU" sz="1600" b="1" dirty="0" err="1" smtClean="0">
                <a:latin typeface="Arial" pitchFamily="34" charset="0"/>
                <a:cs typeface="Arial" pitchFamily="34" charset="0"/>
              </a:rPr>
              <a:t>түрлері</a:t>
            </a: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.</a:t>
            </a:r>
            <a:endParaRPr lang="ru-RU" sz="16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1061789" y="626714"/>
            <a:ext cx="2772743" cy="418407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10113" tIns="55057" rIns="110113" bIns="55057" anchor="ctr"/>
          <a:lstStyle/>
          <a:p>
            <a:pPr algn="ctr">
              <a:defRPr/>
            </a:pPr>
            <a:r>
              <a:rPr lang="ru-RU" sz="1700" b="1" dirty="0" err="1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Жүйелік</a:t>
            </a:r>
            <a:r>
              <a:rPr lang="ru-RU" sz="17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700" b="1" dirty="0" err="1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проблемалар</a:t>
            </a:r>
            <a:endParaRPr lang="ru-RU" sz="1700" b="1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5921428" y="626714"/>
            <a:ext cx="4537840" cy="418407"/>
          </a:xfrm>
          <a:prstGeom prst="rect">
            <a:avLst/>
          </a:prstGeom>
          <a:noFill/>
          <a:ln>
            <a:solidFill>
              <a:srgbClr val="54823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10113" tIns="55057" rIns="110113" bIns="55057" anchor="ctr"/>
          <a:lstStyle/>
          <a:p>
            <a:pPr algn="ctr">
              <a:defRPr/>
            </a:pPr>
            <a:r>
              <a:rPr lang="ru-RU" sz="1700" b="1" dirty="0" err="1">
                <a:solidFill>
                  <a:srgbClr val="548235"/>
                </a:solidFill>
                <a:latin typeface="Arial" pitchFamily="34" charset="0"/>
                <a:cs typeface="Arial" pitchFamily="34" charset="0"/>
              </a:rPr>
              <a:t>Ұсынылатын</a:t>
            </a:r>
            <a:r>
              <a:rPr lang="ru-RU" sz="1700" b="1" dirty="0">
                <a:solidFill>
                  <a:srgbClr val="548235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700" b="1" dirty="0" err="1" smtClean="0">
                <a:solidFill>
                  <a:srgbClr val="548235"/>
                </a:solidFill>
                <a:latin typeface="Arial" pitchFamily="34" charset="0"/>
                <a:cs typeface="Arial" pitchFamily="34" charset="0"/>
              </a:rPr>
              <a:t>шешу</a:t>
            </a:r>
            <a:r>
              <a:rPr lang="ru-RU" sz="1700" b="1" dirty="0" smtClean="0">
                <a:solidFill>
                  <a:srgbClr val="548235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700" b="1" dirty="0" err="1" smtClean="0">
                <a:solidFill>
                  <a:srgbClr val="548235"/>
                </a:solidFill>
                <a:latin typeface="Arial" pitchFamily="34" charset="0"/>
                <a:cs typeface="Arial" pitchFamily="34" charset="0"/>
              </a:rPr>
              <a:t>жолдары</a:t>
            </a:r>
            <a:endParaRPr lang="ru-RU" sz="1700" b="1" dirty="0">
              <a:solidFill>
                <a:srgbClr val="548235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122906" y="1147431"/>
            <a:ext cx="4755742" cy="2048378"/>
          </a:xfrm>
          <a:prstGeom prst="round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endParaRPr lang="ru-RU" sz="1600" spc="5" dirty="0" smtClean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endParaRPr lang="ru-RU" sz="1600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Қолданыстағы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заңнамада</a:t>
            </a:r>
            <a:r>
              <a:rPr lang="ru-RU" sz="1600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ИА </a:t>
            </a:r>
            <a:r>
              <a:rPr lang="ru-RU" sz="1600" spc="5" dirty="0" err="1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туралы</a:t>
            </a:r>
            <a:r>
              <a:rPr lang="ru-RU" sz="1600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Кәсіпкерлік</a:t>
            </a:r>
            <a:r>
              <a:rPr lang="ru-RU" sz="1600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Кодекстің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тек </a:t>
            </a:r>
            <a:r>
              <a:rPr lang="ru-RU" sz="1600" spc="5" dirty="0" err="1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бір</a:t>
            </a:r>
            <a:r>
              <a:rPr lang="ru-RU" sz="1600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жалпы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бабынд</a:t>
            </a:r>
            <a:r>
              <a:rPr lang="ru-RU" sz="1600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айтып</a:t>
            </a:r>
            <a:r>
              <a:rPr lang="ru-RU" sz="1600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өтілген</a:t>
            </a:r>
            <a:r>
              <a:rPr lang="ru-RU" sz="1600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.</a:t>
            </a:r>
            <a:endParaRPr lang="ru-RU" sz="1600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122906" y="3307465"/>
            <a:ext cx="4755742" cy="1914120"/>
          </a:xfrm>
          <a:prstGeom prst="round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endParaRPr lang="ru-RU" sz="1600" spc="5" dirty="0" smtClean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endParaRPr lang="ru-RU" sz="1600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r>
              <a:rPr lang="ru-RU" sz="1600" spc="5" dirty="0" err="1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Тәжірибеде</a:t>
            </a:r>
            <a:r>
              <a:rPr lang="ru-RU" sz="1600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жер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учаскелерін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бөлу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орташа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есеппен</a:t>
            </a:r>
            <a:r>
              <a:rPr lang="ru-RU" sz="1600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6-9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айды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құрайды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бұл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инвесторлардың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қызығушылығын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төмендетеді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160136" y="5365601"/>
            <a:ext cx="4106444" cy="577024"/>
          </a:xfrm>
          <a:prstGeom prst="roundRect">
            <a:avLst>
              <a:gd name="adj" fmla="val 43365"/>
            </a:avLst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r>
              <a:rPr lang="ru-RU" sz="1600" b="1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АЭА </a:t>
            </a:r>
            <a:r>
              <a:rPr lang="ru-RU" sz="1600" b="1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басқарушы</a:t>
            </a:r>
            <a:r>
              <a:rPr lang="ru-RU" sz="1600" b="1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spc="5" dirty="0" err="1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компанияларының</a:t>
            </a:r>
            <a:r>
              <a:rPr lang="ru-RU" sz="1600" b="1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spc="5" dirty="0" err="1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төмен</a:t>
            </a:r>
            <a:r>
              <a:rPr lang="ru-RU" sz="1600" b="1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spc="5" dirty="0" err="1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тиімділігі</a:t>
            </a:r>
            <a:endParaRPr lang="ru-RU" sz="1600" b="1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Скругленный прямоугольник 37"/>
          <p:cNvSpPr/>
          <p:nvPr/>
        </p:nvSpPr>
        <p:spPr>
          <a:xfrm>
            <a:off x="122906" y="5315255"/>
            <a:ext cx="4755742" cy="2219601"/>
          </a:xfrm>
          <a:prstGeom prst="round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endParaRPr lang="ru-RU" sz="1600" spc="5" dirty="0" smtClean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endParaRPr lang="ru-RU" sz="1600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endParaRPr lang="ru-RU" sz="1600" spc="5" dirty="0" smtClean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r>
              <a:rPr lang="ru-RU" sz="1600" spc="5" dirty="0" err="1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Ағымдағы</a:t>
            </a:r>
            <a:r>
              <a:rPr lang="ru-RU" sz="1600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функционал </a:t>
            </a:r>
            <a:r>
              <a:rPr lang="ru-RU" sz="1600" spc="5" dirty="0" err="1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басқарушы</a:t>
            </a:r>
            <a:r>
              <a:rPr lang="ru-RU" sz="1600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компаниялардың</a:t>
            </a:r>
            <a:r>
              <a:rPr lang="ru-RU" sz="1600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әлеуетін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толығымен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ашпайды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.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Әлемде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осындай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алаңдарда</a:t>
            </a:r>
            <a:r>
              <a:rPr lang="ru-RU" sz="1600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басқару</a:t>
            </a:r>
            <a:r>
              <a:rPr lang="ru-RU" sz="1600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компаниялары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кең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ауқымды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қызмет</a:t>
            </a:r>
            <a:r>
              <a:rPr lang="ru-RU" sz="1600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түрлерін</a:t>
            </a:r>
            <a:r>
              <a:rPr lang="ru-RU" sz="1600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жүзеге</a:t>
            </a:r>
            <a:r>
              <a:rPr lang="ru-RU" sz="1600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асырады</a:t>
            </a:r>
            <a:r>
              <a:rPr lang="ru-RU" sz="1600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.</a:t>
            </a:r>
            <a:endParaRPr lang="ru-RU" sz="1600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8240803" y="7118178"/>
            <a:ext cx="2406015" cy="402652"/>
          </a:xfrm>
          <a:prstGeom prst="rect">
            <a:avLst/>
          </a:prstGeom>
        </p:spPr>
        <p:txBody>
          <a:bodyPr lIns="104315" tIns="52157" rIns="104315" bIns="52157"/>
          <a:lstStyle/>
          <a:p>
            <a:pPr algn="r"/>
            <a:fld id="{E7E4A56A-6CFF-441F-ACD8-679C2267E3E3}" type="slidenum">
              <a:rPr lang="ru-RU" smtClean="0"/>
              <a:pPr algn="r"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25506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Скругленный прямоугольник 24"/>
          <p:cNvSpPr/>
          <p:nvPr/>
        </p:nvSpPr>
        <p:spPr>
          <a:xfrm>
            <a:off x="122906" y="1147431"/>
            <a:ext cx="4755742" cy="2048378"/>
          </a:xfrm>
          <a:prstGeom prst="round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endParaRPr lang="ru-RU" sz="1600" spc="5" dirty="0" smtClean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endParaRPr lang="ru-RU" sz="1600" spc="5" dirty="0" smtClean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r>
              <a:rPr lang="ru-RU" sz="1600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АЭА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басымдықты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қызмет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тізімдерін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жаңарту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тәртібі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өте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күрделі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және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икемді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емес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және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шамамен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алты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айға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созылады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бұл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нарықтық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жағдайға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жылдам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әрекет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етуге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мүмкіндік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бермейді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0" y="0"/>
            <a:ext cx="10693400" cy="49541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15" tIns="52157" rIns="104315" bIns="52157" rtlCol="0" anchor="ctr"/>
          <a:lstStyle/>
          <a:p>
            <a:pPr algn="ctr"/>
            <a:r>
              <a:rPr lang="ru-RU" sz="2300" b="1" dirty="0" err="1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Аймақтар</a:t>
            </a:r>
            <a:r>
              <a:rPr lang="ru-RU" sz="2300" b="1" dirty="0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 </a:t>
            </a:r>
            <a:r>
              <a:rPr lang="ru-RU" sz="2300" b="1" dirty="0" err="1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қызметінің</a:t>
            </a:r>
            <a:r>
              <a:rPr lang="ru-RU" sz="2300" b="1" dirty="0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 </a:t>
            </a:r>
            <a:r>
              <a:rPr lang="ru-RU" sz="2300" b="1" dirty="0" err="1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тиімділігі</a:t>
            </a:r>
            <a:endParaRPr lang="ru-RU" sz="2300" b="1" dirty="0">
              <a:solidFill>
                <a:prstClr val="white"/>
              </a:solidFill>
              <a:latin typeface="Arial" pitchFamily="34" charset="0"/>
              <a:ea typeface="Segoe UI" pitchFamily="34" charset="0"/>
              <a:cs typeface="Arial" pitchFamily="34" charset="0"/>
            </a:endParaRPr>
          </a:p>
        </p:txBody>
      </p:sp>
      <p:sp>
        <p:nvSpPr>
          <p:cNvPr id="44" name="Стрелка вправо 43"/>
          <p:cNvSpPr/>
          <p:nvPr/>
        </p:nvSpPr>
        <p:spPr>
          <a:xfrm>
            <a:off x="5012957" y="6184390"/>
            <a:ext cx="687189" cy="609230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algn="ctr">
              <a:defRPr/>
            </a:pPr>
            <a:endParaRPr lang="ru-RU">
              <a:solidFill>
                <a:srgbClr val="002060"/>
              </a:solidFill>
            </a:endParaRPr>
          </a:p>
        </p:txBody>
      </p:sp>
      <p:sp>
        <p:nvSpPr>
          <p:cNvPr id="47" name="Стрелка вправо 46"/>
          <p:cNvSpPr/>
          <p:nvPr/>
        </p:nvSpPr>
        <p:spPr>
          <a:xfrm>
            <a:off x="5012957" y="3925441"/>
            <a:ext cx="687189" cy="609230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algn="ctr">
              <a:defRPr/>
            </a:pPr>
            <a:endParaRPr lang="ru-RU">
              <a:solidFill>
                <a:srgbClr val="002060"/>
              </a:solidFill>
            </a:endParaRPr>
          </a:p>
        </p:txBody>
      </p:sp>
      <p:sp>
        <p:nvSpPr>
          <p:cNvPr id="51" name="TextBox 50"/>
          <p:cNvSpPr txBox="1">
            <a:spLocks noChangeArrowheads="1"/>
          </p:cNvSpPr>
          <p:nvPr/>
        </p:nvSpPr>
        <p:spPr bwMode="auto">
          <a:xfrm>
            <a:off x="5850756" y="3834154"/>
            <a:ext cx="4690800" cy="811367"/>
          </a:xfrm>
          <a:prstGeom prst="rect">
            <a:avLst/>
          </a:prstGeom>
          <a:noFill/>
          <a:ln w="9525">
            <a:solidFill>
              <a:srgbClr val="00B05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36000" tIns="36000" rIns="36000" bIns="36000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just" eaLnBrk="1" hangingPunct="1"/>
            <a:r>
              <a:rPr lang="ru-RU" sz="1600" b="1" spc="5" dirty="0">
                <a:latin typeface="Arial" pitchFamily="34" charset="0"/>
                <a:cs typeface="Arial" pitchFamily="34" charset="0"/>
              </a:rPr>
              <a:t>«ИТП» </a:t>
            </a:r>
            <a:r>
              <a:rPr lang="ru-RU" sz="1600" b="1" spc="5" dirty="0" smtClean="0">
                <a:latin typeface="Arial" pitchFamily="34" charset="0"/>
                <a:cs typeface="Arial" pitchFamily="34" charset="0"/>
              </a:rPr>
              <a:t>АЭА </a:t>
            </a:r>
            <a:r>
              <a:rPr lang="ru-RU" sz="1600" b="1" spc="5" dirty="0" err="1" smtClean="0">
                <a:latin typeface="Arial" pitchFamily="34" charset="0"/>
                <a:cs typeface="Arial" pitchFamily="34" charset="0"/>
              </a:rPr>
              <a:t>үшін</a:t>
            </a:r>
            <a:r>
              <a:rPr lang="ru-RU" sz="1600" b="1" spc="5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spc="5" dirty="0" err="1">
                <a:latin typeface="Arial" pitchFamily="34" charset="0"/>
                <a:cs typeface="Arial" pitchFamily="34" charset="0"/>
              </a:rPr>
              <a:t>экстерриториалдық</a:t>
            </a:r>
            <a:r>
              <a:rPr lang="ru-RU" sz="1600" b="1" spc="5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spc="5" dirty="0" err="1" smtClean="0">
                <a:latin typeface="Arial" pitchFamily="34" charset="0"/>
                <a:cs typeface="Arial" pitchFamily="34" charset="0"/>
              </a:rPr>
              <a:t>қағидасының</a:t>
            </a:r>
            <a:r>
              <a:rPr lang="ru-RU" sz="1600" b="1" spc="5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spc="5" dirty="0" err="1" smtClean="0">
                <a:latin typeface="Arial" pitchFamily="34" charset="0"/>
                <a:cs typeface="Arial" pitchFamily="34" charset="0"/>
              </a:rPr>
              <a:t>мерзімін</a:t>
            </a:r>
            <a:r>
              <a:rPr lang="ru-RU" sz="1600" b="1" spc="5" dirty="0" smtClean="0">
                <a:latin typeface="Arial" pitchFamily="34" charset="0"/>
                <a:cs typeface="Arial" pitchFamily="34" charset="0"/>
              </a:rPr>
              <a:t> 2028 </a:t>
            </a:r>
            <a:r>
              <a:rPr lang="ru-RU" sz="1600" b="1" spc="5" dirty="0" err="1" smtClean="0">
                <a:latin typeface="Arial" pitchFamily="34" charset="0"/>
                <a:cs typeface="Arial" pitchFamily="34" charset="0"/>
              </a:rPr>
              <a:t>жылға</a:t>
            </a:r>
            <a:r>
              <a:rPr lang="ru-RU" sz="1600" b="1" spc="5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spc="5" dirty="0" err="1" smtClean="0">
                <a:latin typeface="Arial" pitchFamily="34" charset="0"/>
                <a:cs typeface="Arial" pitchFamily="34" charset="0"/>
              </a:rPr>
              <a:t>дейін</a:t>
            </a:r>
            <a:r>
              <a:rPr lang="ru-RU" sz="1600" b="1" spc="5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spc="5" dirty="0" err="1" smtClean="0">
                <a:latin typeface="Arial" pitchFamily="34" charset="0"/>
                <a:cs typeface="Arial" pitchFamily="34" charset="0"/>
              </a:rPr>
              <a:t>ұзарту</a:t>
            </a:r>
            <a:r>
              <a:rPr lang="ru-RU" sz="1600" b="1" spc="5" dirty="0" smtClean="0">
                <a:latin typeface="Arial" pitchFamily="34" charset="0"/>
                <a:cs typeface="Arial" pitchFamily="34" charset="0"/>
              </a:rPr>
              <a:t> </a:t>
            </a:r>
            <a:endParaRPr lang="ru-RU" sz="1600" b="1" dirty="0">
              <a:solidFill>
                <a:srgbClr val="FF0000"/>
              </a:solidFill>
            </a:endParaRPr>
          </a:p>
        </p:txBody>
      </p:sp>
      <p:sp>
        <p:nvSpPr>
          <p:cNvPr id="52" name="TextBox 51"/>
          <p:cNvSpPr txBox="1">
            <a:spLocks noChangeArrowheads="1"/>
          </p:cNvSpPr>
          <p:nvPr/>
        </p:nvSpPr>
        <p:spPr bwMode="auto">
          <a:xfrm>
            <a:off x="5850756" y="6216823"/>
            <a:ext cx="4690800" cy="565146"/>
          </a:xfrm>
          <a:prstGeom prst="rect">
            <a:avLst/>
          </a:prstGeom>
          <a:noFill/>
          <a:ln w="9525">
            <a:solidFill>
              <a:srgbClr val="00B05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36000" tIns="36000" rIns="36000" bIns="36000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just" eaLnBrk="1" hangingPunct="1"/>
            <a:r>
              <a:rPr lang="ru-RU" sz="1600" b="1" dirty="0" err="1"/>
              <a:t>өнімділік</a:t>
            </a:r>
            <a:r>
              <a:rPr lang="ru-RU" sz="1600" b="1" dirty="0"/>
              <a:t> </a:t>
            </a:r>
            <a:r>
              <a:rPr lang="ru-RU" sz="1600" b="1" dirty="0" err="1"/>
              <a:t>көрсеткіштерін</a:t>
            </a:r>
            <a:r>
              <a:rPr lang="ru-RU" sz="1600" b="1" dirty="0"/>
              <a:t> </a:t>
            </a:r>
            <a:r>
              <a:rPr lang="ru-RU" sz="1600" b="1" dirty="0" err="1"/>
              <a:t>нақты</a:t>
            </a:r>
            <a:r>
              <a:rPr lang="ru-RU" sz="1600" b="1" dirty="0"/>
              <a:t> </a:t>
            </a:r>
            <a:r>
              <a:rPr lang="ru-RU" sz="1600" b="1" dirty="0" err="1" smtClean="0"/>
              <a:t>белгілеу</a:t>
            </a:r>
            <a:r>
              <a:rPr lang="ru-RU" sz="1600" b="1" dirty="0" smtClean="0"/>
              <a:t> АЭА/ИА</a:t>
            </a:r>
            <a:endParaRPr lang="ru-RU" sz="1600" b="1" dirty="0"/>
          </a:p>
        </p:txBody>
      </p:sp>
      <p:sp>
        <p:nvSpPr>
          <p:cNvPr id="21" name="Прямоугольник 20"/>
          <p:cNvSpPr/>
          <p:nvPr/>
        </p:nvSpPr>
        <p:spPr>
          <a:xfrm>
            <a:off x="1133797" y="626714"/>
            <a:ext cx="2772743" cy="418407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10113" tIns="55057" rIns="110113" bIns="55057" anchor="ctr"/>
          <a:lstStyle/>
          <a:p>
            <a:pPr algn="ctr">
              <a:defRPr/>
            </a:pPr>
            <a:r>
              <a:rPr lang="ru-RU" sz="1700" b="1" dirty="0" err="1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Жүйелік</a:t>
            </a:r>
            <a:r>
              <a:rPr lang="ru-RU" sz="17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700" b="1" dirty="0" err="1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проблемалар</a:t>
            </a:r>
            <a:endParaRPr lang="ru-RU" sz="1700" b="1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6066780" y="626714"/>
            <a:ext cx="4176464" cy="418407"/>
          </a:xfrm>
          <a:prstGeom prst="rect">
            <a:avLst/>
          </a:prstGeom>
          <a:noFill/>
          <a:ln>
            <a:solidFill>
              <a:srgbClr val="54823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10113" tIns="55057" rIns="110113" bIns="55057" anchor="ctr"/>
          <a:lstStyle/>
          <a:p>
            <a:pPr algn="ctr">
              <a:defRPr/>
            </a:pPr>
            <a:r>
              <a:rPr lang="ru-RU" sz="1700" b="1" dirty="0" err="1">
                <a:solidFill>
                  <a:srgbClr val="548235"/>
                </a:solidFill>
                <a:latin typeface="Arial" pitchFamily="34" charset="0"/>
                <a:cs typeface="Arial" pitchFamily="34" charset="0"/>
              </a:rPr>
              <a:t>Ұсынылатын</a:t>
            </a:r>
            <a:r>
              <a:rPr lang="ru-RU" sz="1700" b="1" dirty="0">
                <a:solidFill>
                  <a:srgbClr val="548235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700" b="1" dirty="0" err="1">
                <a:solidFill>
                  <a:srgbClr val="548235"/>
                </a:solidFill>
                <a:latin typeface="Arial" pitchFamily="34" charset="0"/>
                <a:cs typeface="Arial" pitchFamily="34" charset="0"/>
              </a:rPr>
              <a:t>шешу</a:t>
            </a:r>
            <a:r>
              <a:rPr lang="ru-RU" sz="1700" b="1" dirty="0">
                <a:solidFill>
                  <a:srgbClr val="548235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700" b="1" dirty="0" err="1">
                <a:solidFill>
                  <a:srgbClr val="548235"/>
                </a:solidFill>
                <a:latin typeface="Arial" pitchFamily="34" charset="0"/>
                <a:cs typeface="Arial" pitchFamily="34" charset="0"/>
              </a:rPr>
              <a:t>жолдары</a:t>
            </a:r>
            <a:endParaRPr lang="ru-RU" sz="1700" b="1" dirty="0">
              <a:solidFill>
                <a:srgbClr val="548235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Стрелка вправо 26"/>
          <p:cNvSpPr/>
          <p:nvPr/>
        </p:nvSpPr>
        <p:spPr>
          <a:xfrm>
            <a:off x="5012957" y="1867005"/>
            <a:ext cx="687189" cy="609230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algn="ctr">
              <a:defRPr/>
            </a:pPr>
            <a:endParaRPr lang="ru-RU">
              <a:solidFill>
                <a:srgbClr val="002060"/>
              </a:solidFill>
            </a:endParaRPr>
          </a:p>
        </p:txBody>
      </p:sp>
      <p:sp>
        <p:nvSpPr>
          <p:cNvPr id="29" name="TextBox 28"/>
          <p:cNvSpPr txBox="1">
            <a:spLocks noChangeArrowheads="1"/>
          </p:cNvSpPr>
          <p:nvPr/>
        </p:nvSpPr>
        <p:spPr bwMode="auto">
          <a:xfrm>
            <a:off x="5850756" y="1639257"/>
            <a:ext cx="4690800" cy="811367"/>
          </a:xfrm>
          <a:prstGeom prst="rect">
            <a:avLst/>
          </a:prstGeom>
          <a:noFill/>
          <a:ln w="9525">
            <a:solidFill>
              <a:srgbClr val="00B05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36000" tIns="36000" rIns="36000" bIns="36000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just" eaLnBrk="1" hangingPunct="1"/>
            <a:r>
              <a:rPr lang="ru-RU" sz="1600" b="1" dirty="0" smtClean="0"/>
              <a:t>АЭА </a:t>
            </a:r>
            <a:r>
              <a:rPr lang="ru-RU" sz="1600" b="1" dirty="0" err="1" smtClean="0"/>
              <a:t>басым</a:t>
            </a:r>
            <a:r>
              <a:rPr lang="ru-RU" sz="1600" b="1" dirty="0" smtClean="0"/>
              <a:t> </a:t>
            </a:r>
            <a:r>
              <a:rPr lang="ru-RU" sz="1600" b="1" dirty="0" err="1"/>
              <a:t>қызметін</a:t>
            </a:r>
            <a:r>
              <a:rPr lang="ru-RU" sz="1600" b="1" dirty="0"/>
              <a:t> </a:t>
            </a:r>
            <a:r>
              <a:rPr lang="ru-RU" sz="1600" b="1" dirty="0" err="1"/>
              <a:t>кеңейту</a:t>
            </a:r>
            <a:r>
              <a:rPr lang="ru-RU" sz="1600" b="1" dirty="0"/>
              <a:t> </a:t>
            </a:r>
            <a:r>
              <a:rPr lang="ru-RU" sz="1600" b="1" dirty="0" err="1"/>
              <a:t>процесін</a:t>
            </a:r>
            <a:r>
              <a:rPr lang="ru-RU" sz="1600" b="1" dirty="0"/>
              <a:t> </a:t>
            </a:r>
            <a:r>
              <a:rPr lang="ru-RU" sz="1600" b="1" dirty="0" err="1" smtClean="0"/>
              <a:t>жеңілдету</a:t>
            </a:r>
            <a:r>
              <a:rPr lang="ru-RU" sz="1600" b="1" dirty="0" smtClean="0"/>
              <a:t> </a:t>
            </a:r>
            <a:r>
              <a:rPr lang="ru-RU" sz="1600" i="1" dirty="0"/>
              <a:t>(</a:t>
            </a:r>
            <a:r>
              <a:rPr lang="ru-RU" sz="1600" i="1" dirty="0" err="1"/>
              <a:t>тәртіп</a:t>
            </a:r>
            <a:r>
              <a:rPr lang="ru-RU" sz="1600" i="1" dirty="0"/>
              <a:t> </a:t>
            </a:r>
            <a:r>
              <a:rPr lang="ru-RU" sz="1600" i="1" dirty="0" err="1"/>
              <a:t>деңгейінде</a:t>
            </a:r>
            <a:r>
              <a:rPr lang="ru-RU" sz="1600" i="1" dirty="0"/>
              <a:t> </a:t>
            </a:r>
            <a:r>
              <a:rPr lang="ru-RU" sz="1600" i="1" dirty="0" err="1"/>
              <a:t>бір</a:t>
            </a:r>
            <a:r>
              <a:rPr lang="ru-RU" sz="1600" i="1" dirty="0"/>
              <a:t> </a:t>
            </a:r>
            <a:r>
              <a:rPr lang="ru-RU" sz="1600" i="1" dirty="0" err="1"/>
              <a:t>ғана</a:t>
            </a:r>
            <a:r>
              <a:rPr lang="ru-RU" sz="1600" i="1" dirty="0"/>
              <a:t> </a:t>
            </a:r>
            <a:r>
              <a:rPr lang="kk-KZ" sz="1600" i="1" dirty="0" smtClean="0"/>
              <a:t>НҚА</a:t>
            </a:r>
            <a:r>
              <a:rPr lang="en-US" sz="1600" i="1" dirty="0" smtClean="0"/>
              <a:t> </a:t>
            </a:r>
            <a:r>
              <a:rPr lang="ru-RU" sz="1600" i="1" dirty="0" err="1"/>
              <a:t>болады</a:t>
            </a:r>
            <a:r>
              <a:rPr lang="ru-RU" sz="1600" i="1" dirty="0"/>
              <a:t>)</a:t>
            </a:r>
            <a:endParaRPr lang="ru-RU" sz="1600" i="1" dirty="0" smtClean="0"/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160137" y="3306505"/>
            <a:ext cx="3674395" cy="577024"/>
          </a:xfrm>
          <a:prstGeom prst="roundRect">
            <a:avLst>
              <a:gd name="adj" fmla="val 43365"/>
            </a:avLst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r>
              <a:rPr lang="ru-RU" sz="1600" b="1" spc="5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«ИТП» АЭА </a:t>
            </a:r>
            <a:r>
              <a:rPr lang="ru-RU" sz="1600" b="1" spc="5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экстерриториалдық</a:t>
            </a:r>
            <a:r>
              <a:rPr lang="ru-RU" sz="1600" b="1" spc="5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spc="5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қағидасы</a:t>
            </a:r>
            <a:r>
              <a:rPr lang="ru-RU" sz="1600" b="1" spc="5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spc="5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әрекетінің</a:t>
            </a:r>
            <a:r>
              <a:rPr lang="ru-RU" sz="1600" b="1" spc="5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spc="5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аяқталуы</a:t>
            </a:r>
            <a:endParaRPr lang="ru-RU" sz="1600" b="1" spc="5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160137" y="1139661"/>
            <a:ext cx="4106443" cy="481524"/>
          </a:xfrm>
          <a:prstGeom prst="roundRect">
            <a:avLst>
              <a:gd name="adj" fmla="val 50000"/>
            </a:avLst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r>
              <a:rPr lang="ru-RU" sz="1600" b="1" spc="5" dirty="0" err="1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Басым</a:t>
            </a:r>
            <a:r>
              <a:rPr lang="ru-RU" sz="1600" b="1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spc="5" dirty="0" err="1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қызмет</a:t>
            </a:r>
            <a:r>
              <a:rPr lang="ru-RU" sz="1600" b="1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spc="5" dirty="0" err="1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түрлерін</a:t>
            </a:r>
            <a:r>
              <a:rPr lang="ru-RU" sz="1600" b="1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spc="5" dirty="0" err="1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анықтаудың</a:t>
            </a:r>
            <a:r>
              <a:rPr lang="ru-RU" sz="1600" b="1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spc="5" dirty="0" err="1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ұзақ</a:t>
            </a:r>
            <a:r>
              <a:rPr lang="ru-RU" sz="1600" b="1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spc="5" dirty="0" err="1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жүрісі</a:t>
            </a:r>
            <a:endParaRPr lang="ru-RU" sz="1600" b="1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160136" y="5454234"/>
            <a:ext cx="3674395" cy="577024"/>
          </a:xfrm>
          <a:prstGeom prst="roundRect">
            <a:avLst>
              <a:gd name="adj" fmla="val 43365"/>
            </a:avLst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r>
              <a:rPr lang="ru-RU" sz="1600" b="1" spc="5" dirty="0" err="1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Жұмыс</a:t>
            </a:r>
            <a:r>
              <a:rPr lang="ru-RU" sz="1600" b="1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spc="5" dirty="0" err="1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істемейтін</a:t>
            </a:r>
            <a:r>
              <a:rPr lang="ru-RU" sz="1600" b="1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spc="5" dirty="0" err="1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тиімділік</a:t>
            </a:r>
            <a:r>
              <a:rPr lang="ru-RU" sz="1600" b="1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spc="5" dirty="0" err="1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көрсеткіштер</a:t>
            </a:r>
            <a:endParaRPr lang="ru-RU" sz="1600" b="1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122906" y="5376108"/>
            <a:ext cx="4755742" cy="2048378"/>
          </a:xfrm>
          <a:prstGeom prst="round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endParaRPr lang="ru-RU" sz="1600" spc="5" dirty="0" smtClean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endParaRPr lang="ru-RU" sz="1600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r>
              <a:rPr lang="ru-RU" sz="1600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АЭА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анықтауға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қатысты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актілер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25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жыл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бұрын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белгіленген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негізгі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индикаторлар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үшін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анықталған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олар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қазіргі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жағдайда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жиі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қолданылмайды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. </a:t>
            </a:r>
            <a:r>
              <a:rPr lang="en-US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FM-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ге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қатысты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мұндай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көрсеткіштер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мүлдем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жоқ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17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8240803" y="7118178"/>
            <a:ext cx="2406015" cy="402652"/>
          </a:xfrm>
          <a:prstGeom prst="rect">
            <a:avLst/>
          </a:prstGeom>
        </p:spPr>
        <p:txBody>
          <a:bodyPr lIns="104315" tIns="52157" rIns="104315" bIns="52157"/>
          <a:lstStyle/>
          <a:p>
            <a:pPr algn="r"/>
            <a:fld id="{E7E4A56A-6CFF-441F-ACD8-679C2267E3E3}" type="slidenum">
              <a:rPr lang="ru-RU" smtClean="0"/>
              <a:pPr algn="r"/>
              <a:t>6</a:t>
            </a:fld>
            <a:endParaRPr lang="ru-RU" dirty="0"/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122906" y="3306505"/>
            <a:ext cx="4755742" cy="2048378"/>
          </a:xfrm>
          <a:prstGeom prst="round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endParaRPr lang="ru-RU" sz="1600" spc="5" dirty="0" smtClean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endParaRPr lang="ru-RU" sz="1600" spc="5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r>
              <a:rPr lang="ru-RU" sz="1600" spc="5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«ИТП» </a:t>
            </a:r>
            <a:r>
              <a:rPr lang="ru-RU" sz="1600" spc="5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АЭА-</a:t>
            </a:r>
            <a:r>
              <a:rPr lang="ru-RU" sz="1600" spc="5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ның</a:t>
            </a:r>
            <a:r>
              <a:rPr lang="ru-RU" sz="1600" spc="5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алаңын</a:t>
            </a:r>
            <a:r>
              <a:rPr lang="ru-RU" sz="1600" spc="5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таңдау</a:t>
            </a:r>
            <a:r>
              <a:rPr lang="ru-RU" sz="1600" spc="5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кезінде</a:t>
            </a:r>
            <a:r>
              <a:rPr lang="ru-RU" sz="1600" spc="5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негіз</a:t>
            </a:r>
            <a:r>
              <a:rPr lang="ru-RU" sz="1600" spc="5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қалаушы</a:t>
            </a:r>
            <a:r>
              <a:rPr lang="ru-RU" sz="1600" spc="5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аспектінің</a:t>
            </a:r>
            <a:r>
              <a:rPr lang="ru-RU" sz="1600" spc="5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бірі</a:t>
            </a:r>
            <a:r>
              <a:rPr lang="ru-RU" sz="1600" spc="5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– </a:t>
            </a:r>
            <a:r>
              <a:rPr lang="ru-RU" sz="1600" spc="5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экстерриториалдық</a:t>
            </a:r>
            <a:r>
              <a:rPr lang="ru-RU" sz="1600" spc="5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қағидасы</a:t>
            </a:r>
            <a:r>
              <a:rPr lang="ru-RU" sz="1600" spc="5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2018 </a:t>
            </a:r>
            <a:r>
              <a:rPr lang="ru-RU" sz="1600" spc="5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жылдың</a:t>
            </a:r>
            <a:r>
              <a:rPr lang="ru-RU" sz="1600" spc="5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1 </a:t>
            </a:r>
            <a:r>
              <a:rPr lang="ru-RU" sz="1600" spc="5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қаңтарында</a:t>
            </a:r>
            <a:r>
              <a:rPr lang="ru-RU" sz="1600" spc="5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аяқталады</a:t>
            </a:r>
            <a:endParaRPr lang="ru-RU" sz="1600" spc="5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2924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Скругленный прямоугольник 76"/>
          <p:cNvSpPr/>
          <p:nvPr/>
        </p:nvSpPr>
        <p:spPr>
          <a:xfrm>
            <a:off x="122906" y="5581624"/>
            <a:ext cx="4755742" cy="1931569"/>
          </a:xfrm>
          <a:prstGeom prst="round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endParaRPr lang="ru-RU" sz="1600" spc="5" dirty="0" smtClean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endParaRPr lang="ru-RU" sz="1600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Қазіргі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уақытта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2012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жылдың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1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қаңтарына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дейін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қатысушы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ретінде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тіркелген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қатысушылардың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тек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бірдей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емес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шарттарды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жасайтын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арнайы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инвестициялық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келісімшартқа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кіруі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мүмкін</a:t>
            </a:r>
            <a:endParaRPr lang="ru-RU" sz="1600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5" name="Скругленный прямоугольник 74"/>
          <p:cNvSpPr/>
          <p:nvPr/>
        </p:nvSpPr>
        <p:spPr>
          <a:xfrm>
            <a:off x="122906" y="3461239"/>
            <a:ext cx="4755742" cy="2048378"/>
          </a:xfrm>
          <a:prstGeom prst="round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endParaRPr lang="ru-RU" sz="1600" spc="5" dirty="0" smtClean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endParaRPr lang="ru-RU" sz="1600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АЭА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қатысушыларына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тауарларды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ҚҚС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ставкасы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бойынша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сатқан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ҚҚС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қайтару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үшін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Басқарушы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компания 205 000 АЕК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көлемінде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қаржылық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қамтамасыз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етуді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(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бірақ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мүмкін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емес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)</a:t>
            </a:r>
          </a:p>
        </p:txBody>
      </p:sp>
      <p:sp>
        <p:nvSpPr>
          <p:cNvPr id="74" name="Скругленный прямоугольник 73"/>
          <p:cNvSpPr/>
          <p:nvPr/>
        </p:nvSpPr>
        <p:spPr>
          <a:xfrm>
            <a:off x="122906" y="1069516"/>
            <a:ext cx="4755742" cy="2312848"/>
          </a:xfrm>
          <a:prstGeom prst="round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endParaRPr lang="ru-RU" sz="1600" spc="5" dirty="0" smtClean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endParaRPr lang="ru-RU" sz="1600" spc="5" dirty="0" smtClean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Бұл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коэффициентке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қол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жеткізу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қиындығы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күтпеген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кірістердің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(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айырбас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бағамының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айырмашылығының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)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пайда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болуымен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сондай-ақ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бірыңғай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технологиялық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процесс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шеңберінде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басым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емес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қызметті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жүзеге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асырудан</a:t>
            </a:r>
            <a:endParaRPr lang="ru-RU" sz="1600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0" y="0"/>
            <a:ext cx="10693400" cy="49541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15" tIns="52157" rIns="104315" bIns="52157" rtlCol="0" anchor="ctr"/>
          <a:lstStyle/>
          <a:p>
            <a:pPr algn="ctr"/>
            <a:r>
              <a:rPr lang="ru-RU" sz="2300" b="1" dirty="0" err="1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Салық</a:t>
            </a:r>
            <a:r>
              <a:rPr lang="ru-RU" sz="2300" b="1" dirty="0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 </a:t>
            </a:r>
            <a:r>
              <a:rPr lang="ru-RU" sz="2300" b="1" dirty="0" err="1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мәселелері</a:t>
            </a:r>
            <a:endParaRPr lang="ru-RU" sz="2300" b="1" dirty="0">
              <a:solidFill>
                <a:prstClr val="white"/>
              </a:solidFill>
              <a:latin typeface="Arial" pitchFamily="34" charset="0"/>
              <a:ea typeface="Segoe UI" pitchFamily="34" charset="0"/>
              <a:cs typeface="Arial" pitchFamily="34" charset="0"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1246458" y="560819"/>
            <a:ext cx="2772743" cy="418407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10113" tIns="55057" rIns="110113" bIns="55057" anchor="ctr"/>
          <a:lstStyle/>
          <a:p>
            <a:pPr algn="ctr">
              <a:defRPr/>
            </a:pPr>
            <a:r>
              <a:rPr lang="ru-RU" sz="1700" b="1" dirty="0" err="1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Жүйелік</a:t>
            </a:r>
            <a:r>
              <a:rPr lang="ru-RU" sz="17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700" b="1" dirty="0" err="1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проблемалар</a:t>
            </a:r>
            <a:endParaRPr lang="ru-RU" sz="1700" b="1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5849420" y="541065"/>
            <a:ext cx="4537840" cy="418407"/>
          </a:xfrm>
          <a:prstGeom prst="rect">
            <a:avLst/>
          </a:prstGeom>
          <a:noFill/>
          <a:ln>
            <a:solidFill>
              <a:srgbClr val="54823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10113" tIns="55057" rIns="110113" bIns="55057" anchor="ctr"/>
          <a:lstStyle/>
          <a:p>
            <a:pPr algn="ctr">
              <a:defRPr/>
            </a:pPr>
            <a:r>
              <a:rPr lang="ru-RU" sz="1700" b="1" dirty="0" err="1">
                <a:solidFill>
                  <a:srgbClr val="548235"/>
                </a:solidFill>
                <a:latin typeface="Arial" pitchFamily="34" charset="0"/>
                <a:cs typeface="Arial" pitchFamily="34" charset="0"/>
              </a:rPr>
              <a:t>Ұсынылатын</a:t>
            </a:r>
            <a:r>
              <a:rPr lang="ru-RU" sz="1700" b="1" dirty="0">
                <a:solidFill>
                  <a:srgbClr val="548235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700" b="1" dirty="0" err="1">
                <a:solidFill>
                  <a:srgbClr val="548235"/>
                </a:solidFill>
                <a:latin typeface="Arial" pitchFamily="34" charset="0"/>
                <a:cs typeface="Arial" pitchFamily="34" charset="0"/>
              </a:rPr>
              <a:t>шешу</a:t>
            </a:r>
            <a:r>
              <a:rPr lang="ru-RU" sz="1700" b="1" dirty="0">
                <a:solidFill>
                  <a:srgbClr val="548235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700" b="1" dirty="0" err="1">
                <a:solidFill>
                  <a:srgbClr val="548235"/>
                </a:solidFill>
                <a:latin typeface="Arial" pitchFamily="34" charset="0"/>
                <a:cs typeface="Arial" pitchFamily="34" charset="0"/>
              </a:rPr>
              <a:t>жолдары</a:t>
            </a:r>
            <a:endParaRPr lang="ru-RU" sz="1700" b="1" dirty="0">
              <a:solidFill>
                <a:srgbClr val="548235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3" name="Стрелка вправо 62"/>
          <p:cNvSpPr/>
          <p:nvPr/>
        </p:nvSpPr>
        <p:spPr>
          <a:xfrm>
            <a:off x="5012957" y="6184390"/>
            <a:ext cx="687189" cy="609230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algn="ctr">
              <a:defRPr/>
            </a:pPr>
            <a:endParaRPr lang="ru-RU">
              <a:solidFill>
                <a:srgbClr val="002060"/>
              </a:solidFill>
            </a:endParaRPr>
          </a:p>
        </p:txBody>
      </p:sp>
      <p:sp>
        <p:nvSpPr>
          <p:cNvPr id="64" name="Стрелка вправо 63"/>
          <p:cNvSpPr/>
          <p:nvPr/>
        </p:nvSpPr>
        <p:spPr>
          <a:xfrm>
            <a:off x="5003105" y="4164302"/>
            <a:ext cx="687189" cy="609230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algn="ctr">
              <a:defRPr/>
            </a:pPr>
            <a:endParaRPr lang="ru-RU">
              <a:solidFill>
                <a:srgbClr val="002060"/>
              </a:solidFill>
            </a:endParaRPr>
          </a:p>
        </p:txBody>
      </p:sp>
      <p:sp>
        <p:nvSpPr>
          <p:cNvPr id="65" name="TextBox 64"/>
          <p:cNvSpPr txBox="1">
            <a:spLocks noChangeArrowheads="1"/>
          </p:cNvSpPr>
          <p:nvPr/>
        </p:nvSpPr>
        <p:spPr bwMode="auto">
          <a:xfrm>
            <a:off x="5850756" y="3852884"/>
            <a:ext cx="4690800" cy="1303809"/>
          </a:xfrm>
          <a:prstGeom prst="rect">
            <a:avLst/>
          </a:prstGeom>
          <a:noFill/>
          <a:ln w="9525">
            <a:solidFill>
              <a:srgbClr val="00B05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36000" tIns="36000" rIns="36000" bIns="36000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just" eaLnBrk="1" hangingPunct="1"/>
            <a:r>
              <a:rPr lang="ru-RU" sz="1600" b="1" dirty="0" err="1"/>
              <a:t>Басқарушы</a:t>
            </a:r>
            <a:r>
              <a:rPr lang="ru-RU" sz="1600" b="1" dirty="0"/>
              <a:t> </a:t>
            </a:r>
            <a:r>
              <a:rPr lang="ru-RU" sz="1600" b="1" dirty="0" err="1"/>
              <a:t>компаниялардың</a:t>
            </a:r>
            <a:r>
              <a:rPr lang="ru-RU" sz="1600" b="1" dirty="0"/>
              <a:t> </a:t>
            </a:r>
            <a:r>
              <a:rPr lang="ru-RU" sz="1600" b="1" dirty="0" err="1"/>
              <a:t>қаржылық</a:t>
            </a:r>
            <a:r>
              <a:rPr lang="ru-RU" sz="1600" b="1" dirty="0"/>
              <a:t> </a:t>
            </a:r>
            <a:r>
              <a:rPr lang="ru-RU" sz="1600" b="1" dirty="0" err="1"/>
              <a:t>қолдауын</a:t>
            </a:r>
            <a:r>
              <a:rPr lang="ru-RU" sz="1600" b="1" dirty="0"/>
              <a:t> </a:t>
            </a:r>
            <a:r>
              <a:rPr lang="ru-RU" sz="1600" b="1" dirty="0" err="1"/>
              <a:t>қалыптастыру</a:t>
            </a:r>
            <a:r>
              <a:rPr lang="ru-RU" sz="1600" b="1" dirty="0"/>
              <a:t> </a:t>
            </a:r>
            <a:r>
              <a:rPr lang="ru-RU" sz="1600" b="1" dirty="0" err="1"/>
              <a:t>талаптарын</a:t>
            </a:r>
            <a:r>
              <a:rPr lang="ru-RU" sz="1600" b="1" dirty="0"/>
              <a:t> </a:t>
            </a:r>
            <a:r>
              <a:rPr lang="ru-RU" sz="1600" b="1" dirty="0" err="1"/>
              <a:t>жою</a:t>
            </a:r>
            <a:r>
              <a:rPr lang="ru-RU" sz="1600" b="1" dirty="0"/>
              <a:t> </a:t>
            </a:r>
            <a:r>
              <a:rPr lang="ru-RU" sz="1600" b="1" dirty="0" err="1"/>
              <a:t>және</a:t>
            </a:r>
            <a:r>
              <a:rPr lang="ru-RU" sz="1600" b="1" dirty="0"/>
              <a:t> АЭА </a:t>
            </a:r>
            <a:r>
              <a:rPr lang="ru-RU" sz="1600" b="1" dirty="0" err="1"/>
              <a:t>қатысушыларына</a:t>
            </a:r>
            <a:r>
              <a:rPr lang="ru-RU" sz="1600" b="1" dirty="0"/>
              <a:t> </a:t>
            </a:r>
            <a:r>
              <a:rPr lang="ru-RU" sz="1600" b="1" dirty="0" err="1"/>
              <a:t>тауарлардың</a:t>
            </a:r>
            <a:r>
              <a:rPr lang="ru-RU" sz="1600" b="1" dirty="0"/>
              <a:t> </a:t>
            </a:r>
            <a:r>
              <a:rPr lang="ru-RU" sz="1600" b="1" dirty="0" err="1"/>
              <a:t>нақты</a:t>
            </a:r>
            <a:r>
              <a:rPr lang="ru-RU" sz="1600" b="1" dirty="0"/>
              <a:t> </a:t>
            </a:r>
            <a:r>
              <a:rPr lang="ru-RU" sz="1600" b="1" dirty="0" err="1"/>
              <a:t>тұтынылуын</a:t>
            </a:r>
            <a:r>
              <a:rPr lang="ru-RU" sz="1600" b="1" dirty="0"/>
              <a:t> </a:t>
            </a:r>
            <a:r>
              <a:rPr lang="ru-RU" sz="1600" b="1" dirty="0" err="1"/>
              <a:t>растау</a:t>
            </a:r>
            <a:r>
              <a:rPr lang="ru-RU" sz="1600" b="1" dirty="0"/>
              <a:t> </a:t>
            </a:r>
            <a:r>
              <a:rPr lang="ru-RU" sz="1600" b="1" dirty="0" err="1"/>
              <a:t>бойынша</a:t>
            </a:r>
            <a:r>
              <a:rPr lang="ru-RU" sz="1600" b="1" dirty="0"/>
              <a:t> </a:t>
            </a:r>
            <a:r>
              <a:rPr lang="ru-RU" sz="1600" b="1" dirty="0" err="1"/>
              <a:t>міндеттемені</a:t>
            </a:r>
            <a:r>
              <a:rPr lang="ru-RU" sz="1600" b="1" dirty="0"/>
              <a:t> беру</a:t>
            </a:r>
          </a:p>
        </p:txBody>
      </p:sp>
      <p:sp>
        <p:nvSpPr>
          <p:cNvPr id="69" name="TextBox 68"/>
          <p:cNvSpPr txBox="1">
            <a:spLocks noChangeArrowheads="1"/>
          </p:cNvSpPr>
          <p:nvPr/>
        </p:nvSpPr>
        <p:spPr bwMode="auto">
          <a:xfrm>
            <a:off x="5850756" y="5970603"/>
            <a:ext cx="4690800" cy="1057588"/>
          </a:xfrm>
          <a:prstGeom prst="rect">
            <a:avLst/>
          </a:prstGeom>
          <a:noFill/>
          <a:ln w="9525">
            <a:solidFill>
              <a:srgbClr val="00B05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36000" tIns="36000" rIns="36000" bIns="36000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just" eaLnBrk="1" hangingPunct="1"/>
            <a:r>
              <a:rPr lang="ru-RU" sz="1600" b="1" dirty="0" smtClean="0"/>
              <a:t>АЭА </a:t>
            </a:r>
            <a:r>
              <a:rPr lang="ru-RU" sz="1600" b="1" dirty="0" err="1"/>
              <a:t>барлық</a:t>
            </a:r>
            <a:r>
              <a:rPr lang="ru-RU" sz="1600" b="1" dirty="0"/>
              <a:t> </a:t>
            </a:r>
            <a:r>
              <a:rPr lang="ru-RU" sz="1600" b="1" dirty="0" err="1"/>
              <a:t>қатысушыларына</a:t>
            </a:r>
            <a:r>
              <a:rPr lang="ru-RU" sz="1600" b="1" dirty="0"/>
              <a:t> </a:t>
            </a:r>
            <a:r>
              <a:rPr lang="ru-RU" sz="1600" b="1" dirty="0" err="1"/>
              <a:t>арналған</a:t>
            </a:r>
            <a:r>
              <a:rPr lang="ru-RU" sz="1600" b="1" dirty="0"/>
              <a:t> </a:t>
            </a:r>
            <a:r>
              <a:rPr lang="ru-RU" sz="1600" b="1" dirty="0" err="1"/>
              <a:t>арнайы</a:t>
            </a:r>
            <a:r>
              <a:rPr lang="ru-RU" sz="1600" b="1" dirty="0"/>
              <a:t> </a:t>
            </a:r>
            <a:r>
              <a:rPr lang="ru-RU" sz="1600" b="1" dirty="0" err="1"/>
              <a:t>инвестициялық</a:t>
            </a:r>
            <a:r>
              <a:rPr lang="ru-RU" sz="1600" b="1" dirty="0"/>
              <a:t> </a:t>
            </a:r>
            <a:r>
              <a:rPr lang="ru-RU" sz="1600" b="1" dirty="0" err="1"/>
              <a:t>келісімшарттың</a:t>
            </a:r>
            <a:r>
              <a:rPr lang="ru-RU" sz="1600" b="1" dirty="0"/>
              <a:t> </a:t>
            </a:r>
            <a:r>
              <a:rPr lang="ru-RU" sz="1600" b="1" dirty="0" err="1"/>
              <a:t>механизмін</a:t>
            </a:r>
            <a:r>
              <a:rPr lang="ru-RU" sz="1600" b="1" dirty="0"/>
              <a:t> </a:t>
            </a:r>
            <a:r>
              <a:rPr lang="ru-RU" sz="1600" b="1" dirty="0" err="1"/>
              <a:t>бөлу</a:t>
            </a:r>
            <a:r>
              <a:rPr lang="ru-RU" sz="1600" b="1" dirty="0"/>
              <a:t>, </a:t>
            </a:r>
            <a:r>
              <a:rPr lang="ru-RU" sz="1600" b="1" dirty="0" err="1"/>
              <a:t>сондай-ақ</a:t>
            </a:r>
            <a:r>
              <a:rPr lang="ru-RU" sz="1600" b="1" dirty="0"/>
              <a:t> </a:t>
            </a:r>
            <a:r>
              <a:rPr lang="ru-RU" sz="1600" b="1" dirty="0" err="1"/>
              <a:t>импортқа</a:t>
            </a:r>
            <a:r>
              <a:rPr lang="ru-RU" sz="1600" b="1" dirty="0"/>
              <a:t> ҚҚС </a:t>
            </a:r>
            <a:r>
              <a:rPr lang="ru-RU" sz="1600" b="1" dirty="0" err="1"/>
              <a:t>ставкасын</a:t>
            </a:r>
            <a:r>
              <a:rPr lang="ru-RU" sz="1600" b="1" dirty="0"/>
              <a:t> </a:t>
            </a:r>
            <a:r>
              <a:rPr lang="ru-RU" sz="1600" b="1" dirty="0" err="1"/>
              <a:t>қолдануды</a:t>
            </a:r>
            <a:r>
              <a:rPr lang="ru-RU" sz="1600" b="1" dirty="0"/>
              <a:t> </a:t>
            </a:r>
            <a:r>
              <a:rPr lang="ru-RU" sz="1600" b="1" dirty="0" err="1"/>
              <a:t>таңдау</a:t>
            </a:r>
            <a:r>
              <a:rPr lang="ru-RU" sz="1600" b="1" dirty="0"/>
              <a:t> </a:t>
            </a:r>
            <a:r>
              <a:rPr lang="ru-RU" sz="1600" b="1" dirty="0" err="1"/>
              <a:t>құқығын</a:t>
            </a:r>
            <a:r>
              <a:rPr lang="ru-RU" sz="1600" b="1" dirty="0"/>
              <a:t> </a:t>
            </a:r>
            <a:r>
              <a:rPr lang="ru-RU" sz="1600" b="1" dirty="0" err="1"/>
              <a:t>енгізу</a:t>
            </a:r>
            <a:endParaRPr lang="ru-RU" sz="1600" b="1" dirty="0"/>
          </a:p>
        </p:txBody>
      </p:sp>
      <p:sp>
        <p:nvSpPr>
          <p:cNvPr id="70" name="Стрелка вправо 69"/>
          <p:cNvSpPr/>
          <p:nvPr/>
        </p:nvSpPr>
        <p:spPr>
          <a:xfrm>
            <a:off x="5012957" y="1867005"/>
            <a:ext cx="687189" cy="609230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algn="ctr">
              <a:defRPr/>
            </a:pPr>
            <a:endParaRPr lang="ru-RU">
              <a:solidFill>
                <a:srgbClr val="002060"/>
              </a:solidFill>
            </a:endParaRPr>
          </a:p>
        </p:txBody>
      </p:sp>
      <p:sp>
        <p:nvSpPr>
          <p:cNvPr id="71" name="TextBox 70"/>
          <p:cNvSpPr txBox="1">
            <a:spLocks noChangeArrowheads="1"/>
          </p:cNvSpPr>
          <p:nvPr/>
        </p:nvSpPr>
        <p:spPr bwMode="auto">
          <a:xfrm>
            <a:off x="5850756" y="1937390"/>
            <a:ext cx="4690800" cy="565146"/>
          </a:xfrm>
          <a:prstGeom prst="rect">
            <a:avLst/>
          </a:prstGeom>
          <a:noFill/>
          <a:ln w="9525">
            <a:solidFill>
              <a:srgbClr val="00B05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36000" tIns="36000" rIns="36000" bIns="36000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just" eaLnBrk="1" hangingPunct="1"/>
            <a:r>
              <a:rPr lang="ru-RU" sz="1600" b="1" dirty="0" smtClean="0"/>
              <a:t>АЭА </a:t>
            </a:r>
            <a:r>
              <a:rPr lang="ru-RU" sz="1600" b="1" dirty="0" err="1"/>
              <a:t>қатысушыларына</a:t>
            </a:r>
            <a:r>
              <a:rPr lang="ru-RU" sz="1600" b="1" dirty="0"/>
              <a:t> </a:t>
            </a:r>
            <a:r>
              <a:rPr lang="ru-RU" sz="1600" b="1" dirty="0" err="1"/>
              <a:t>кірістерді</a:t>
            </a:r>
            <a:r>
              <a:rPr lang="ru-RU" sz="1600" b="1" dirty="0"/>
              <a:t> </a:t>
            </a:r>
            <a:r>
              <a:rPr lang="ru-RU" sz="1600" b="1" dirty="0" err="1"/>
              <a:t>бөлек</a:t>
            </a:r>
            <a:r>
              <a:rPr lang="ru-RU" sz="1600" b="1" dirty="0"/>
              <a:t> </a:t>
            </a:r>
            <a:r>
              <a:rPr lang="ru-RU" sz="1600" b="1" dirty="0" err="1"/>
              <a:t>есепке</a:t>
            </a:r>
            <a:r>
              <a:rPr lang="ru-RU" sz="1600" b="1" dirty="0"/>
              <a:t> </a:t>
            </a:r>
            <a:r>
              <a:rPr lang="ru-RU" sz="1600" b="1" dirty="0" err="1"/>
              <a:t>алуды</a:t>
            </a:r>
            <a:r>
              <a:rPr lang="ru-RU" sz="1600" b="1" dirty="0"/>
              <a:t> </a:t>
            </a:r>
            <a:r>
              <a:rPr lang="ru-RU" sz="1600" b="1" dirty="0" err="1"/>
              <a:t>енгізу</a:t>
            </a:r>
            <a:endParaRPr lang="ru-RU" sz="1600" b="1" dirty="0"/>
          </a:p>
        </p:txBody>
      </p:sp>
      <p:sp>
        <p:nvSpPr>
          <p:cNvPr id="72" name="Скругленный прямоугольник 71"/>
          <p:cNvSpPr/>
          <p:nvPr/>
        </p:nvSpPr>
        <p:spPr>
          <a:xfrm>
            <a:off x="160137" y="3460278"/>
            <a:ext cx="4322467" cy="704023"/>
          </a:xfrm>
          <a:prstGeom prst="roundRect">
            <a:avLst>
              <a:gd name="adj" fmla="val 43365"/>
            </a:avLst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r>
              <a:rPr lang="ru-RU" sz="1600" b="1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Басқарушы</a:t>
            </a:r>
            <a:r>
              <a:rPr lang="ru-RU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органдарды</a:t>
            </a:r>
            <a:r>
              <a:rPr lang="ru-RU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қаржымен</a:t>
            </a:r>
            <a:r>
              <a:rPr lang="ru-RU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қамсыздандырудың</a:t>
            </a:r>
            <a:r>
              <a:rPr lang="ru-RU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қажеттілік</a:t>
            </a:r>
            <a:r>
              <a:rPr lang="ru-RU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ауыртпалығы</a:t>
            </a:r>
            <a:endParaRPr lang="ru-RU" sz="1600" b="1" spc="5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3" name="Скругленный прямоугольник 72"/>
          <p:cNvSpPr/>
          <p:nvPr/>
        </p:nvSpPr>
        <p:spPr>
          <a:xfrm>
            <a:off x="160137" y="1061746"/>
            <a:ext cx="3674395" cy="415423"/>
          </a:xfrm>
          <a:prstGeom prst="roundRect">
            <a:avLst>
              <a:gd name="adj" fmla="val 50000"/>
            </a:avLst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r>
              <a:rPr lang="ru-RU" sz="1600" b="1" spc="5" dirty="0" err="1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Жұмыс</a:t>
            </a:r>
            <a:r>
              <a:rPr lang="ru-RU" sz="1600" b="1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spc="5" dirty="0" err="1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істемейтін</a:t>
            </a:r>
            <a:r>
              <a:rPr lang="ru-RU" sz="1600" b="1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90/10 </a:t>
            </a:r>
            <a:r>
              <a:rPr lang="ru-RU" sz="1600" b="1" spc="5" dirty="0" err="1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талап</a:t>
            </a:r>
            <a:endParaRPr lang="ru-RU" sz="1600" b="1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6" name="Скругленный прямоугольник 75"/>
          <p:cNvSpPr/>
          <p:nvPr/>
        </p:nvSpPr>
        <p:spPr>
          <a:xfrm>
            <a:off x="160136" y="5580665"/>
            <a:ext cx="3674395" cy="577024"/>
          </a:xfrm>
          <a:prstGeom prst="roundRect">
            <a:avLst>
              <a:gd name="adj" fmla="val 43365"/>
            </a:avLst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r>
              <a:rPr lang="ru-RU" sz="1600" b="1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Арнайы</a:t>
            </a:r>
            <a:r>
              <a:rPr lang="ru-RU" sz="1600" b="1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инвестициялық</a:t>
            </a:r>
            <a:r>
              <a:rPr lang="ru-RU" sz="1600" b="1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spc="5" dirty="0" err="1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келісімшарт</a:t>
            </a:r>
            <a:r>
              <a:rPr lang="ru-RU" sz="1600" b="1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spc="5" dirty="0" err="1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жасасу</a:t>
            </a:r>
            <a:r>
              <a:rPr lang="ru-RU" sz="1600" b="1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spc="5" dirty="0" err="1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кедергілері</a:t>
            </a:r>
            <a:endParaRPr lang="ru-RU" sz="1600" b="1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8240803" y="7118178"/>
            <a:ext cx="2406015" cy="402652"/>
          </a:xfrm>
          <a:prstGeom prst="rect">
            <a:avLst/>
          </a:prstGeom>
        </p:spPr>
        <p:txBody>
          <a:bodyPr lIns="104315" tIns="52157" rIns="104315" bIns="52157"/>
          <a:lstStyle/>
          <a:p>
            <a:pPr algn="r"/>
            <a:fld id="{E7E4A56A-6CFF-441F-ACD8-679C2267E3E3}" type="slidenum">
              <a:rPr lang="ru-RU" smtClean="0"/>
              <a:pPr algn="r"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4661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Скругленный прямоугольник 76"/>
          <p:cNvSpPr/>
          <p:nvPr/>
        </p:nvSpPr>
        <p:spPr>
          <a:xfrm>
            <a:off x="160136" y="6013673"/>
            <a:ext cx="4755742" cy="1499520"/>
          </a:xfrm>
          <a:prstGeom prst="round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endParaRPr lang="ru-RU" sz="1600" spc="5" dirty="0" smtClean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endParaRPr lang="ru-RU" sz="1600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Жер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салығы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мүлік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және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жерді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пайдалану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үшін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төлемақы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тек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пайдалануға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берілгеннен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кейін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ғана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пайда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болады</a:t>
            </a:r>
            <a:endParaRPr lang="ru-RU" sz="1600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5" name="Скругленный прямоугольник 74"/>
          <p:cNvSpPr/>
          <p:nvPr/>
        </p:nvSpPr>
        <p:spPr>
          <a:xfrm>
            <a:off x="122906" y="3461239"/>
            <a:ext cx="4755742" cy="2480426"/>
          </a:xfrm>
          <a:prstGeom prst="round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endParaRPr lang="ru-RU" sz="1600" spc="5" dirty="0" smtClean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endParaRPr lang="ru-RU" sz="1600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АЭА </a:t>
            </a:r>
            <a:r>
              <a:rPr lang="ru-RU" sz="1600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«ИТП» 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-те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әлеуметтік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салықтан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босату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үшін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қатысушылар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өздерінің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кірістерінің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кемінде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50% </a:t>
            </a:r>
            <a:r>
              <a:rPr lang="ru-RU" sz="1600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kk-KZ" sz="1600" spc="5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ФОТ</a:t>
            </a:r>
            <a:r>
              <a:rPr lang="ru-RU" sz="1600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жұмсау</a:t>
            </a:r>
            <a:r>
              <a:rPr lang="ru-RU" sz="1600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керек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мұнда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қызметкерлердің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90% </a:t>
            </a:r>
            <a:r>
              <a:rPr lang="ru-RU" sz="1600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ҚР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резиденті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болуы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тиіс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, ал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жеңілдіктер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тек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алғашқы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5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жылда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ғана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қолданылуы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мүмкін</a:t>
            </a:r>
            <a:endParaRPr lang="ru-RU" sz="1600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4" name="Скругленный прямоугольник 73"/>
          <p:cNvSpPr/>
          <p:nvPr/>
        </p:nvSpPr>
        <p:spPr>
          <a:xfrm>
            <a:off x="122906" y="1069516"/>
            <a:ext cx="4755742" cy="2312848"/>
          </a:xfrm>
          <a:prstGeom prst="round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endParaRPr lang="ru-RU" sz="1600" spc="5" dirty="0" smtClean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endParaRPr lang="ru-RU" sz="1600" spc="5" dirty="0" smtClean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Жер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учаскелерін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және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инфрақұрылымды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басқарушы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компанияларға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көшіру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кезінде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ЖАО 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АЭА / </a:t>
            </a:r>
            <a:r>
              <a:rPr lang="ru-RU" sz="1600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ИА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басқару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компанияларына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салықтық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жүктемені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едәуір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арттырады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(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жер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учаскелеріне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мүлікке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және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жерді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пайдаланғаны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үшін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төлемдерге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салынатын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жүктеме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)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0" y="0"/>
            <a:ext cx="10693400" cy="49541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15" tIns="52157" rIns="104315" bIns="52157" rtlCol="0" anchor="ctr"/>
          <a:lstStyle/>
          <a:p>
            <a:pPr algn="ctr"/>
            <a:r>
              <a:rPr lang="ru-RU" sz="2300" b="1" dirty="0" err="1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Салық</a:t>
            </a:r>
            <a:r>
              <a:rPr lang="ru-RU" sz="2300" b="1" dirty="0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 </a:t>
            </a:r>
            <a:r>
              <a:rPr lang="ru-RU" sz="2300" b="1" dirty="0" err="1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мәселелері</a:t>
            </a:r>
            <a:endParaRPr lang="ru-RU" sz="2300" b="1" dirty="0">
              <a:solidFill>
                <a:prstClr val="white"/>
              </a:solidFill>
              <a:latin typeface="Arial" pitchFamily="34" charset="0"/>
              <a:ea typeface="Segoe UI" pitchFamily="34" charset="0"/>
              <a:cs typeface="Arial" pitchFamily="34" charset="0"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1246458" y="560819"/>
            <a:ext cx="2772743" cy="418407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10113" tIns="55057" rIns="110113" bIns="55057" anchor="ctr"/>
          <a:lstStyle/>
          <a:p>
            <a:pPr algn="ctr">
              <a:defRPr/>
            </a:pPr>
            <a:r>
              <a:rPr lang="ru-RU" sz="1700" b="1" dirty="0" err="1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Жүйелік</a:t>
            </a:r>
            <a:r>
              <a:rPr lang="ru-RU" sz="17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700" b="1" dirty="0" err="1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проблемалар</a:t>
            </a:r>
            <a:endParaRPr lang="ru-RU" sz="1700" b="1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5849420" y="541065"/>
            <a:ext cx="4537840" cy="418407"/>
          </a:xfrm>
          <a:prstGeom prst="rect">
            <a:avLst/>
          </a:prstGeom>
          <a:noFill/>
          <a:ln>
            <a:solidFill>
              <a:srgbClr val="54823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10113" tIns="55057" rIns="110113" bIns="55057" anchor="ctr"/>
          <a:lstStyle/>
          <a:p>
            <a:pPr algn="ctr">
              <a:defRPr/>
            </a:pPr>
            <a:r>
              <a:rPr lang="ru-RU" sz="1700" b="1" dirty="0" err="1">
                <a:solidFill>
                  <a:srgbClr val="548235"/>
                </a:solidFill>
                <a:latin typeface="Arial" pitchFamily="34" charset="0"/>
                <a:cs typeface="Arial" pitchFamily="34" charset="0"/>
              </a:rPr>
              <a:t>Ұсынылатын</a:t>
            </a:r>
            <a:r>
              <a:rPr lang="ru-RU" sz="1700" b="1" dirty="0">
                <a:solidFill>
                  <a:srgbClr val="548235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700" b="1" dirty="0" err="1">
                <a:solidFill>
                  <a:srgbClr val="548235"/>
                </a:solidFill>
                <a:latin typeface="Arial" pitchFamily="34" charset="0"/>
                <a:cs typeface="Arial" pitchFamily="34" charset="0"/>
              </a:rPr>
              <a:t>шешу</a:t>
            </a:r>
            <a:r>
              <a:rPr lang="ru-RU" sz="1700" b="1" dirty="0">
                <a:solidFill>
                  <a:srgbClr val="548235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700" b="1" dirty="0" err="1">
                <a:solidFill>
                  <a:srgbClr val="548235"/>
                </a:solidFill>
                <a:latin typeface="Arial" pitchFamily="34" charset="0"/>
                <a:cs typeface="Arial" pitchFamily="34" charset="0"/>
              </a:rPr>
              <a:t>жолдары</a:t>
            </a:r>
            <a:endParaRPr lang="ru-RU" sz="1700" b="1" dirty="0">
              <a:solidFill>
                <a:srgbClr val="548235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3" name="Стрелка вправо 62"/>
          <p:cNvSpPr/>
          <p:nvPr/>
        </p:nvSpPr>
        <p:spPr>
          <a:xfrm>
            <a:off x="5012957" y="6184390"/>
            <a:ext cx="687189" cy="609230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algn="ctr">
              <a:defRPr/>
            </a:pPr>
            <a:endParaRPr lang="ru-RU">
              <a:solidFill>
                <a:srgbClr val="002060"/>
              </a:solidFill>
            </a:endParaRPr>
          </a:p>
        </p:txBody>
      </p:sp>
      <p:sp>
        <p:nvSpPr>
          <p:cNvPr id="64" name="Стрелка вправо 63"/>
          <p:cNvSpPr/>
          <p:nvPr/>
        </p:nvSpPr>
        <p:spPr>
          <a:xfrm>
            <a:off x="5003105" y="4164302"/>
            <a:ext cx="687189" cy="609230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algn="ctr">
              <a:defRPr/>
            </a:pPr>
            <a:endParaRPr lang="ru-RU">
              <a:solidFill>
                <a:srgbClr val="002060"/>
              </a:solidFill>
            </a:endParaRPr>
          </a:p>
        </p:txBody>
      </p:sp>
      <p:sp>
        <p:nvSpPr>
          <p:cNvPr id="65" name="TextBox 64"/>
          <p:cNvSpPr txBox="1">
            <a:spLocks noChangeArrowheads="1"/>
          </p:cNvSpPr>
          <p:nvPr/>
        </p:nvSpPr>
        <p:spPr bwMode="auto">
          <a:xfrm>
            <a:off x="5850756" y="4345326"/>
            <a:ext cx="4690800" cy="318924"/>
          </a:xfrm>
          <a:prstGeom prst="rect">
            <a:avLst/>
          </a:prstGeom>
          <a:noFill/>
          <a:ln w="9525">
            <a:solidFill>
              <a:srgbClr val="00B05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36000" tIns="36000" rIns="36000" bIns="36000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just" eaLnBrk="1" hangingPunct="1"/>
            <a:r>
              <a:rPr lang="ru-RU" sz="1600" b="1" dirty="0" err="1"/>
              <a:t>Барлық</a:t>
            </a:r>
            <a:r>
              <a:rPr lang="ru-RU" sz="1600" b="1" dirty="0"/>
              <a:t> </a:t>
            </a:r>
            <a:r>
              <a:rPr lang="ru-RU" sz="1600" b="1" dirty="0" err="1"/>
              <a:t>талаптарды</a:t>
            </a:r>
            <a:r>
              <a:rPr lang="ru-RU" sz="1600" b="1" dirty="0"/>
              <a:t> </a:t>
            </a:r>
            <a:r>
              <a:rPr lang="ru-RU" sz="1600" b="1" dirty="0" err="1"/>
              <a:t>жою</a:t>
            </a:r>
            <a:endParaRPr lang="ru-RU" sz="1600" b="1" dirty="0"/>
          </a:p>
        </p:txBody>
      </p:sp>
      <p:sp>
        <p:nvSpPr>
          <p:cNvPr id="69" name="TextBox 68"/>
          <p:cNvSpPr txBox="1">
            <a:spLocks noChangeArrowheads="1"/>
          </p:cNvSpPr>
          <p:nvPr/>
        </p:nvSpPr>
        <p:spPr bwMode="auto">
          <a:xfrm>
            <a:off x="5850756" y="6216824"/>
            <a:ext cx="4690800" cy="565146"/>
          </a:xfrm>
          <a:prstGeom prst="rect">
            <a:avLst/>
          </a:prstGeom>
          <a:noFill/>
          <a:ln w="9525">
            <a:solidFill>
              <a:srgbClr val="00B05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36000" tIns="36000" rIns="36000" bIns="36000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just" eaLnBrk="1" hangingPunct="1"/>
            <a:r>
              <a:rPr lang="ru-RU" sz="1600" b="1" dirty="0" err="1"/>
              <a:t>Тіркелген</a:t>
            </a:r>
            <a:r>
              <a:rPr lang="ru-RU" sz="1600" b="1" dirty="0"/>
              <a:t> </a:t>
            </a:r>
            <a:r>
              <a:rPr lang="ru-RU" sz="1600" b="1" dirty="0" err="1" smtClean="0"/>
              <a:t>күнінен</a:t>
            </a:r>
            <a:r>
              <a:rPr lang="ru-RU" sz="1600" b="1" dirty="0" smtClean="0"/>
              <a:t> </a:t>
            </a:r>
            <a:r>
              <a:rPr lang="ru-RU" sz="1600" b="1" dirty="0" err="1"/>
              <a:t>бастап</a:t>
            </a:r>
            <a:r>
              <a:rPr lang="ru-RU" sz="1600" b="1" dirty="0"/>
              <a:t> АЭА-</a:t>
            </a:r>
            <a:r>
              <a:rPr lang="ru-RU" sz="1600" b="1" dirty="0" err="1"/>
              <a:t>ға</a:t>
            </a:r>
            <a:r>
              <a:rPr lang="ru-RU" sz="1600" b="1" dirty="0"/>
              <a:t> </a:t>
            </a:r>
            <a:r>
              <a:rPr lang="ru-RU" sz="1600" b="1" dirty="0" err="1"/>
              <a:t>қатысушы</a:t>
            </a:r>
            <a:r>
              <a:rPr lang="ru-RU" sz="1600" b="1" dirty="0"/>
              <a:t> </a:t>
            </a:r>
            <a:r>
              <a:rPr lang="ru-RU" sz="1600" b="1" dirty="0" err="1"/>
              <a:t>ретінде</a:t>
            </a:r>
            <a:r>
              <a:rPr lang="ru-RU" sz="1600" b="1" dirty="0"/>
              <a:t> </a:t>
            </a:r>
            <a:r>
              <a:rPr lang="ru-RU" sz="1600" b="1" dirty="0" err="1"/>
              <a:t>жеңілдіктерді</a:t>
            </a:r>
            <a:r>
              <a:rPr lang="ru-RU" sz="1600" b="1" dirty="0"/>
              <a:t> </a:t>
            </a:r>
            <a:r>
              <a:rPr lang="ru-RU" sz="1600" b="1" dirty="0" err="1"/>
              <a:t>қолдану</a:t>
            </a:r>
            <a:endParaRPr lang="ru-RU" sz="1600" b="1" dirty="0"/>
          </a:p>
        </p:txBody>
      </p:sp>
      <p:sp>
        <p:nvSpPr>
          <p:cNvPr id="70" name="Стрелка вправо 69"/>
          <p:cNvSpPr/>
          <p:nvPr/>
        </p:nvSpPr>
        <p:spPr>
          <a:xfrm>
            <a:off x="5012957" y="1867005"/>
            <a:ext cx="687189" cy="609230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algn="ctr">
              <a:defRPr/>
            </a:pPr>
            <a:endParaRPr lang="ru-RU">
              <a:solidFill>
                <a:srgbClr val="002060"/>
              </a:solidFill>
            </a:endParaRPr>
          </a:p>
        </p:txBody>
      </p:sp>
      <p:sp>
        <p:nvSpPr>
          <p:cNvPr id="71" name="TextBox 70"/>
          <p:cNvSpPr txBox="1">
            <a:spLocks noChangeArrowheads="1"/>
          </p:cNvSpPr>
          <p:nvPr/>
        </p:nvSpPr>
        <p:spPr bwMode="auto">
          <a:xfrm>
            <a:off x="5850756" y="1691170"/>
            <a:ext cx="4690800" cy="1057588"/>
          </a:xfrm>
          <a:prstGeom prst="rect">
            <a:avLst/>
          </a:prstGeom>
          <a:noFill/>
          <a:ln w="9525">
            <a:solidFill>
              <a:srgbClr val="00B05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36000" tIns="36000" rIns="36000" bIns="36000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sz="1600" b="1" dirty="0" err="1"/>
              <a:t>Жер</a:t>
            </a:r>
            <a:r>
              <a:rPr lang="ru-RU" sz="1600" b="1" dirty="0"/>
              <a:t> </a:t>
            </a:r>
            <a:r>
              <a:rPr lang="ru-RU" sz="1600" b="1" dirty="0" err="1"/>
              <a:t>учаскелері</a:t>
            </a:r>
            <a:r>
              <a:rPr lang="ru-RU" sz="1600" b="1" dirty="0"/>
              <a:t> мен </a:t>
            </a:r>
            <a:r>
              <a:rPr lang="ru-RU" sz="1600" b="1" dirty="0" err="1"/>
              <a:t>мүлікке</a:t>
            </a:r>
            <a:r>
              <a:rPr lang="ru-RU" sz="1600" b="1" dirty="0"/>
              <a:t> </a:t>
            </a:r>
            <a:r>
              <a:rPr lang="ru-RU" sz="1600" b="1" dirty="0" err="1"/>
              <a:t>салынатын</a:t>
            </a:r>
            <a:r>
              <a:rPr lang="ru-RU" sz="1600" b="1" dirty="0"/>
              <a:t> </a:t>
            </a:r>
            <a:r>
              <a:rPr lang="ru-RU" sz="1600" b="1" dirty="0" err="1"/>
              <a:t>салықтарға</a:t>
            </a:r>
            <a:r>
              <a:rPr lang="ru-RU" sz="1600" b="1" dirty="0"/>
              <a:t> </a:t>
            </a:r>
            <a:r>
              <a:rPr lang="ru-RU" sz="1600" b="1" dirty="0" smtClean="0"/>
              <a:t>АЭА/ИА </a:t>
            </a:r>
            <a:r>
              <a:rPr lang="ru-RU" sz="1600" b="1" dirty="0" err="1"/>
              <a:t>басқарушы</a:t>
            </a:r>
            <a:r>
              <a:rPr lang="ru-RU" sz="1600" b="1" dirty="0"/>
              <a:t> </a:t>
            </a:r>
            <a:r>
              <a:rPr lang="ru-RU" sz="1600" b="1" dirty="0" err="1"/>
              <a:t>компанияларға</a:t>
            </a:r>
            <a:r>
              <a:rPr lang="ru-RU" sz="1600" b="1" dirty="0"/>
              <a:t> </a:t>
            </a:r>
            <a:r>
              <a:rPr lang="ru-RU" sz="1600" b="1" dirty="0" err="1" smtClean="0"/>
              <a:t>төлемдерге</a:t>
            </a:r>
            <a:r>
              <a:rPr lang="ru-RU" sz="1600" b="1" dirty="0" smtClean="0"/>
              <a:t> </a:t>
            </a:r>
            <a:r>
              <a:rPr lang="ru-RU" sz="1600" b="1" dirty="0"/>
              <a:t>0 </a:t>
            </a:r>
            <a:r>
              <a:rPr lang="ru-RU" sz="1600" b="1" dirty="0" err="1"/>
              <a:t>ставкаларды</a:t>
            </a:r>
            <a:r>
              <a:rPr lang="ru-RU" sz="1600" b="1" dirty="0"/>
              <a:t> </a:t>
            </a:r>
            <a:r>
              <a:rPr lang="ru-RU" sz="1600" b="1" dirty="0" err="1" smtClean="0"/>
              <a:t>орнату</a:t>
            </a:r>
            <a:endParaRPr lang="ru-RU" sz="1600" b="1" dirty="0"/>
          </a:p>
        </p:txBody>
      </p:sp>
      <p:sp>
        <p:nvSpPr>
          <p:cNvPr id="72" name="Скругленный прямоугольник 71"/>
          <p:cNvSpPr/>
          <p:nvPr/>
        </p:nvSpPr>
        <p:spPr>
          <a:xfrm>
            <a:off x="160138" y="3461239"/>
            <a:ext cx="4322466" cy="728436"/>
          </a:xfrm>
          <a:prstGeom prst="roundRect">
            <a:avLst>
              <a:gd name="adj" fmla="val 43365"/>
            </a:avLst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r>
              <a:rPr lang="ru-RU" sz="1600" b="1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«ИТП» АЭА-да </a:t>
            </a:r>
            <a:r>
              <a:rPr lang="ru-RU" sz="1600" b="1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әлеуметтік</a:t>
            </a:r>
            <a:r>
              <a:rPr lang="ru-RU" sz="1600" b="1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салық</a:t>
            </a:r>
            <a:r>
              <a:rPr lang="ru-RU" sz="1600" b="1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бойынша</a:t>
            </a:r>
            <a:r>
              <a:rPr lang="ru-RU" sz="1600" b="1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жәрдемақы</a:t>
            </a:r>
            <a:r>
              <a:rPr lang="ru-RU" sz="1600" b="1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алуға</a:t>
            </a:r>
            <a:r>
              <a:rPr lang="ru-RU" sz="1600" b="1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қойылатын</a:t>
            </a:r>
            <a:r>
              <a:rPr lang="ru-RU" sz="1600" b="1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spc="5" dirty="0" err="1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орындалмайтын</a:t>
            </a:r>
            <a:r>
              <a:rPr lang="ru-RU" sz="1600" b="1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spc="5" dirty="0" err="1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талаптар</a:t>
            </a:r>
            <a:endParaRPr lang="ru-RU" sz="1600" b="1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3" name="Скругленный прямоугольник 72"/>
          <p:cNvSpPr/>
          <p:nvPr/>
        </p:nvSpPr>
        <p:spPr>
          <a:xfrm>
            <a:off x="160138" y="1061746"/>
            <a:ext cx="3962426" cy="629424"/>
          </a:xfrm>
          <a:prstGeom prst="roundRect">
            <a:avLst>
              <a:gd name="adj" fmla="val 50000"/>
            </a:avLst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r>
              <a:rPr lang="ru-RU" sz="1600" b="1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Басқарушы</a:t>
            </a:r>
            <a:r>
              <a:rPr lang="ru-RU" sz="1600" b="1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компаниялардың</a:t>
            </a:r>
            <a:r>
              <a:rPr lang="ru-RU" sz="1600" b="1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салықтық</a:t>
            </a:r>
            <a:r>
              <a:rPr lang="ru-RU" sz="1600" b="1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жүктемесі</a:t>
            </a:r>
            <a:endParaRPr lang="ru-RU" sz="1600" b="1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6" name="Скругленный прямоугольник 75"/>
          <p:cNvSpPr/>
          <p:nvPr/>
        </p:nvSpPr>
        <p:spPr>
          <a:xfrm>
            <a:off x="151258" y="6066389"/>
            <a:ext cx="3962427" cy="433008"/>
          </a:xfrm>
          <a:prstGeom prst="roundRect">
            <a:avLst>
              <a:gd name="adj" fmla="val 43365"/>
            </a:avLst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r>
              <a:rPr lang="ru-RU" sz="1600" b="1" spc="5" dirty="0" err="1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Артықшылықты</a:t>
            </a:r>
            <a:r>
              <a:rPr lang="ru-RU" sz="1600" b="1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spc="5" dirty="0" err="1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жобаны</a:t>
            </a:r>
            <a:r>
              <a:rPr lang="ru-RU" sz="1600" b="1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тек </a:t>
            </a:r>
            <a:r>
              <a:rPr lang="ru-RU" sz="1600" b="1" spc="5" dirty="0" err="1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іске</a:t>
            </a:r>
            <a:r>
              <a:rPr lang="ru-RU" sz="1600" b="1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spc="5" dirty="0" err="1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асыру</a:t>
            </a:r>
            <a:r>
              <a:rPr lang="ru-RU" sz="1600" b="1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spc="5" dirty="0" err="1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уақытынан</a:t>
            </a:r>
            <a:r>
              <a:rPr lang="ru-RU" sz="1600" b="1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spc="5" dirty="0" err="1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алу</a:t>
            </a:r>
            <a:r>
              <a:rPr lang="ru-RU" sz="1600" b="1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spc="5" dirty="0" err="1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мерзімі</a:t>
            </a:r>
            <a:endParaRPr lang="ru-RU" sz="1600" b="1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8240803" y="7118178"/>
            <a:ext cx="2406015" cy="402652"/>
          </a:xfrm>
          <a:prstGeom prst="rect">
            <a:avLst/>
          </a:prstGeom>
        </p:spPr>
        <p:txBody>
          <a:bodyPr lIns="104315" tIns="52157" rIns="104315" bIns="52157"/>
          <a:lstStyle/>
          <a:p>
            <a:pPr algn="r"/>
            <a:fld id="{E7E4A56A-6CFF-441F-ACD8-679C2267E3E3}" type="slidenum">
              <a:rPr lang="ru-RU" smtClean="0"/>
              <a:pPr algn="r"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05089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 bwMode="auto">
          <a:xfrm>
            <a:off x="630976" y="879502"/>
            <a:ext cx="9752497" cy="1667585"/>
          </a:xfrm>
          <a:prstGeom prst="rect">
            <a:avLst/>
          </a:prstGeom>
          <a:noFill/>
          <a:ln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102672" tIns="53389" rIns="720000" bIns="53389" numCol="1" rtlCol="0" anchor="ctr" anchorCtr="0" compatLnSpc="1">
            <a:prstTxWarp prst="textNoShape">
              <a:avLst/>
            </a:prstTxWarp>
          </a:bodyPr>
          <a:lstStyle/>
          <a:p>
            <a:pPr defTabSz="1014171">
              <a:lnSpc>
                <a:spcPct val="90000"/>
              </a:lnSpc>
              <a:spcAft>
                <a:spcPct val="35000"/>
              </a:spcAft>
            </a:pPr>
            <a:endParaRPr lang="ru-RU" altLang="ru-RU" dirty="0" smtClean="0">
              <a:solidFill>
                <a:schemeClr val="accent6"/>
              </a:solidFill>
            </a:endParaRPr>
          </a:p>
          <a:p>
            <a:pPr marL="722313" lvl="0" indent="-722313" algn="just" defTabSz="1014171">
              <a:tabLst>
                <a:tab pos="9512300" algn="l"/>
              </a:tabLst>
            </a:pPr>
            <a:r>
              <a:rPr lang="ru-RU" altLang="ru-RU" sz="2100" dirty="0" smtClean="0">
                <a:solidFill>
                  <a:srgbClr val="002060"/>
                </a:solidFill>
                <a:latin typeface="Arial" charset="0"/>
              </a:rPr>
              <a:t>          </a:t>
            </a:r>
            <a:r>
              <a:rPr lang="ru-RU" sz="2100" dirty="0">
                <a:solidFill>
                  <a:srgbClr val="002060"/>
                </a:solidFill>
                <a:latin typeface="Arial" charset="0"/>
              </a:rPr>
              <a:t>АЭА мен ИА </a:t>
            </a:r>
            <a:r>
              <a:rPr lang="ru-RU" sz="2100" dirty="0" err="1">
                <a:solidFill>
                  <a:srgbClr val="002060"/>
                </a:solidFill>
                <a:latin typeface="Arial" charset="0"/>
              </a:rPr>
              <a:t>инвестициялық</a:t>
            </a:r>
            <a:r>
              <a:rPr lang="ru-RU" sz="2100" dirty="0">
                <a:solidFill>
                  <a:srgbClr val="002060"/>
                </a:solidFill>
                <a:latin typeface="Arial" charset="0"/>
              </a:rPr>
              <a:t> </a:t>
            </a:r>
            <a:r>
              <a:rPr lang="ru-RU" sz="2100" dirty="0" err="1">
                <a:solidFill>
                  <a:srgbClr val="002060"/>
                </a:solidFill>
                <a:latin typeface="Arial" charset="0"/>
              </a:rPr>
              <a:t>тартымдылығын</a:t>
            </a:r>
            <a:r>
              <a:rPr lang="ru-RU" sz="2100" dirty="0">
                <a:solidFill>
                  <a:srgbClr val="002060"/>
                </a:solidFill>
                <a:latin typeface="Arial" charset="0"/>
              </a:rPr>
              <a:t> </a:t>
            </a:r>
            <a:r>
              <a:rPr lang="ru-RU" sz="2100" dirty="0" err="1" smtClean="0">
                <a:solidFill>
                  <a:srgbClr val="002060"/>
                </a:solidFill>
                <a:latin typeface="Arial" charset="0"/>
              </a:rPr>
              <a:t>арттыру</a:t>
            </a:r>
            <a:r>
              <a:rPr lang="ru-RU" sz="2100" dirty="0">
                <a:solidFill>
                  <a:srgbClr val="002060"/>
                </a:solidFill>
                <a:latin typeface="Arial" charset="0"/>
              </a:rPr>
              <a:t> </a:t>
            </a:r>
            <a:r>
              <a:rPr lang="ru-RU" altLang="ru-RU" sz="2100" dirty="0" err="1" smtClean="0">
                <a:solidFill>
                  <a:srgbClr val="002060"/>
                </a:solidFill>
                <a:latin typeface="Arial" charset="0"/>
              </a:rPr>
              <a:t>және</a:t>
            </a:r>
            <a:r>
              <a:rPr lang="ru-RU" altLang="ru-RU" sz="2100" dirty="0" smtClean="0">
                <a:solidFill>
                  <a:srgbClr val="002060"/>
                </a:solidFill>
                <a:latin typeface="Arial" charset="0"/>
              </a:rPr>
              <a:t> </a:t>
            </a:r>
            <a:r>
              <a:rPr lang="ru-RU" altLang="ru-RU" sz="2100" dirty="0" err="1">
                <a:solidFill>
                  <a:srgbClr val="002060"/>
                </a:solidFill>
                <a:latin typeface="Arial" charset="0"/>
              </a:rPr>
              <a:t>инвестициялар</a:t>
            </a:r>
            <a:r>
              <a:rPr lang="ru-RU" altLang="ru-RU" sz="2100" dirty="0">
                <a:solidFill>
                  <a:srgbClr val="002060"/>
                </a:solidFill>
                <a:latin typeface="Arial" charset="0"/>
              </a:rPr>
              <a:t> </a:t>
            </a:r>
            <a:r>
              <a:rPr lang="ru-RU" altLang="ru-RU" sz="2100" dirty="0" err="1">
                <a:solidFill>
                  <a:srgbClr val="002060"/>
                </a:solidFill>
                <a:latin typeface="Arial" charset="0"/>
              </a:rPr>
              <a:t>тарту</a:t>
            </a:r>
            <a:r>
              <a:rPr lang="ru-RU" altLang="ru-RU" sz="2100" dirty="0">
                <a:solidFill>
                  <a:srgbClr val="002060"/>
                </a:solidFill>
                <a:latin typeface="Arial" charset="0"/>
              </a:rPr>
              <a:t> </a:t>
            </a:r>
            <a:r>
              <a:rPr lang="ru-RU" altLang="ru-RU" sz="2100" dirty="0" err="1">
                <a:solidFill>
                  <a:srgbClr val="002060"/>
                </a:solidFill>
                <a:latin typeface="Arial" charset="0"/>
              </a:rPr>
              <a:t>тетіктерін</a:t>
            </a:r>
            <a:r>
              <a:rPr lang="ru-RU" altLang="ru-RU" sz="2100" dirty="0">
                <a:solidFill>
                  <a:srgbClr val="002060"/>
                </a:solidFill>
                <a:latin typeface="Arial" charset="0"/>
              </a:rPr>
              <a:t> </a:t>
            </a:r>
            <a:r>
              <a:rPr lang="ru-RU" altLang="ru-RU" sz="2100" dirty="0" err="1">
                <a:solidFill>
                  <a:srgbClr val="002060"/>
                </a:solidFill>
                <a:latin typeface="Arial" charset="0"/>
              </a:rPr>
              <a:t>жетілдіру</a:t>
            </a:r>
            <a:endParaRPr lang="ru-RU" sz="2100" dirty="0">
              <a:solidFill>
                <a:srgbClr val="002060"/>
              </a:solidFill>
              <a:latin typeface="Arial" charset="0"/>
            </a:endParaRP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5156913" y="541065"/>
            <a:ext cx="21368" cy="158817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Прямоугольник 43"/>
          <p:cNvSpPr/>
          <p:nvPr/>
        </p:nvSpPr>
        <p:spPr bwMode="auto">
          <a:xfrm>
            <a:off x="630976" y="3781425"/>
            <a:ext cx="9752497" cy="3513014"/>
          </a:xfrm>
          <a:prstGeom prst="rect">
            <a:avLst/>
          </a:prstGeom>
          <a:noFill/>
          <a:ln w="28575">
            <a:solidFill>
              <a:schemeClr val="accent1"/>
            </a:solidFill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41069" tIns="12321" rIns="41069" bIns="12321" anchor="ctr"/>
          <a:lstStyle/>
          <a:p>
            <a:pPr indent="-285750">
              <a:lnSpc>
                <a:spcPct val="80000"/>
              </a:lnSpc>
              <a:spcBef>
                <a:spcPts val="684"/>
              </a:spcBef>
              <a:buFont typeface="Wingdings" pitchFamily="2" charset="2"/>
              <a:buChar char="Ø"/>
              <a:defRPr/>
            </a:pP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Р 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одексі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«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лық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әне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юджетке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өленетін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сқа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да 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індетті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қлемдер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уралы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» (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лық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одексі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)</a:t>
            </a:r>
          </a:p>
          <a:p>
            <a:pPr>
              <a:lnSpc>
                <a:spcPct val="80000"/>
              </a:lnSpc>
              <a:spcBef>
                <a:spcPts val="684"/>
              </a:spcBef>
              <a:buFont typeface="Wingdings" pitchFamily="2" charset="2"/>
              <a:buChar char="Ø"/>
              <a:defRPr/>
            </a:pP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 ҚР 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ер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одексі</a:t>
            </a:r>
            <a:endParaRPr lang="ru-RU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80000"/>
              </a:lnSpc>
              <a:spcBef>
                <a:spcPts val="684"/>
              </a:spcBef>
              <a:buFont typeface="Wingdings" pitchFamily="2" charset="2"/>
              <a:buChar char="Ø"/>
              <a:defRPr/>
            </a:pPr>
            <a:r>
              <a:rPr lang="ru-RU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ҚР 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әсіпкерлік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одексі</a:t>
            </a:r>
            <a:endParaRPr lang="ru-RU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80000"/>
              </a:lnSpc>
              <a:spcBef>
                <a:spcPts val="684"/>
              </a:spcBef>
              <a:buFont typeface="Wingdings" pitchFamily="2" charset="2"/>
              <a:buChar char="Ø"/>
              <a:defRPr/>
            </a:pP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 «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қтандыру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ызметі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уралы</a:t>
            </a:r>
            <a:r>
              <a:rPr lang="ru-RU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» ҚР </a:t>
            </a:r>
            <a:r>
              <a:rPr lang="ru-RU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Заңы</a:t>
            </a:r>
            <a:r>
              <a:rPr lang="ru-RU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80000"/>
              </a:lnSpc>
              <a:spcBef>
                <a:spcPts val="684"/>
              </a:spcBef>
              <a:buFont typeface="Wingdings" pitchFamily="2" charset="2"/>
              <a:buChar char="Ø"/>
              <a:defRPr/>
            </a:pP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 «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зақстан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спубликасындағы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ергілікті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емлекеттік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сқару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әне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өзін-өзі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сқару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уралы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» ҚР 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Заңы</a:t>
            </a:r>
            <a:endParaRPr lang="ru-RU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80000"/>
              </a:lnSpc>
              <a:spcBef>
                <a:spcPts val="684"/>
              </a:spcBef>
              <a:buFont typeface="Wingdings" pitchFamily="2" charset="2"/>
              <a:buChar char="Ø"/>
              <a:defRPr/>
            </a:pP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 «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әулет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ла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ұрылысы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әне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ұрылыс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ызметі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уралы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» ҚР 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Заңы</a:t>
            </a:r>
            <a:endParaRPr lang="ru-RU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80000"/>
              </a:lnSpc>
              <a:spcBef>
                <a:spcPts val="684"/>
              </a:spcBef>
              <a:buFont typeface="Wingdings" pitchFamily="2" charset="2"/>
              <a:buChar char="Ø"/>
              <a:defRPr/>
            </a:pP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 «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ехникалық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ттеу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уралы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» ҚР 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Заңы</a:t>
            </a:r>
            <a:endParaRPr lang="ru-RU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80000"/>
              </a:lnSpc>
              <a:spcBef>
                <a:spcPts val="684"/>
              </a:spcBef>
              <a:buFont typeface="Wingdings" pitchFamily="2" charset="2"/>
              <a:buChar char="Ø"/>
              <a:defRPr/>
            </a:pP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 «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лық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одексін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олдануға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ңгізу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уралы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» ҚР 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Заңы</a:t>
            </a:r>
            <a:endParaRPr lang="ru-RU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80000"/>
              </a:lnSpc>
              <a:spcBef>
                <a:spcPts val="684"/>
              </a:spcBef>
              <a:buFont typeface="Wingdings" pitchFamily="2" charset="2"/>
              <a:buChar char="Ø"/>
              <a:defRPr/>
            </a:pP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 «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оғамдық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ңестер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уралы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» ҚР 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Заңы</a:t>
            </a:r>
            <a:endParaRPr lang="ru-RU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80000"/>
              </a:lnSpc>
              <a:spcBef>
                <a:spcPts val="684"/>
              </a:spcBef>
              <a:buFont typeface="Wingdings" pitchFamily="2" charset="2"/>
              <a:buChar char="Ø"/>
              <a:defRPr/>
            </a:pP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 «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амлекеттік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тып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лу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уралы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» ҚР </a:t>
            </a:r>
            <a:r>
              <a:rPr lang="ru-RU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Заңы</a:t>
            </a:r>
            <a:endParaRPr lang="ru-RU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AutoShape 5"/>
          <p:cNvSpPr>
            <a:spLocks noChangeArrowheads="1"/>
          </p:cNvSpPr>
          <p:nvPr/>
        </p:nvSpPr>
        <p:spPr bwMode="auto">
          <a:xfrm>
            <a:off x="585302" y="2917329"/>
            <a:ext cx="9798171" cy="634752"/>
          </a:xfrm>
          <a:prstGeom prst="roundRect">
            <a:avLst>
              <a:gd name="adj" fmla="val 16667"/>
            </a:avLst>
          </a:prstGeom>
          <a:noFill/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0" tIns="12321" rIns="0" bIns="12321" anchor="ctr"/>
          <a:lstStyle/>
          <a:p>
            <a:pPr algn="ctr">
              <a:lnSpc>
                <a:spcPct val="80000"/>
              </a:lnSpc>
              <a:defRPr/>
            </a:pPr>
            <a:r>
              <a:rPr lang="ru-RU" altLang="ru-RU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Өзгерістер</a:t>
            </a:r>
            <a:r>
              <a:rPr lang="ru-RU" altLang="ru-RU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10 </a:t>
            </a:r>
            <a:r>
              <a:rPr lang="ru-RU" altLang="ru-RU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заңнамалық</a:t>
            </a:r>
            <a:r>
              <a:rPr lang="ru-RU" altLang="ru-RU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актілеріне</a:t>
            </a:r>
            <a:r>
              <a:rPr lang="ru-RU" altLang="ru-RU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енгізіледі</a:t>
            </a:r>
            <a:r>
              <a:rPr lang="ru-RU" altLang="ru-RU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(3 </a:t>
            </a:r>
            <a:r>
              <a:rPr lang="ru-RU" altLang="ru-RU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кодексі</a:t>
            </a:r>
            <a:r>
              <a:rPr lang="ru-RU" altLang="ru-RU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и </a:t>
            </a:r>
            <a:r>
              <a:rPr lang="ru-RU" altLang="ru-RU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7 </a:t>
            </a:r>
            <a:r>
              <a:rPr lang="ru-RU" altLang="ru-RU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Заң</a:t>
            </a:r>
            <a:r>
              <a:rPr lang="ru-RU" altLang="ru-RU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):</a:t>
            </a:r>
            <a:endParaRPr lang="ru-RU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3" name="Группа 12"/>
          <p:cNvGrpSpPr/>
          <p:nvPr/>
        </p:nvGrpSpPr>
        <p:grpSpPr>
          <a:xfrm>
            <a:off x="799395" y="858701"/>
            <a:ext cx="6660959" cy="555861"/>
            <a:chOff x="406845" y="49218"/>
            <a:chExt cx="5695832" cy="598855"/>
          </a:xfrm>
        </p:grpSpPr>
        <p:sp>
          <p:nvSpPr>
            <p:cNvPr id="14" name="Скругленный прямоугольник 13"/>
            <p:cNvSpPr/>
            <p:nvPr/>
          </p:nvSpPr>
          <p:spPr>
            <a:xfrm>
              <a:off x="406845" y="49218"/>
              <a:ext cx="5695832" cy="598855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Скругленный прямоугольник 4"/>
            <p:cNvSpPr/>
            <p:nvPr/>
          </p:nvSpPr>
          <p:spPr>
            <a:xfrm>
              <a:off x="436079" y="78452"/>
              <a:ext cx="5637364" cy="54038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15289" tIns="0" rIns="215289" bIns="0" numCol="1" spcCol="1270" anchor="ctr" anchorCtr="0">
              <a:noAutofit/>
            </a:bodyPr>
            <a:lstStyle/>
            <a:p>
              <a:pPr defTabSz="101417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altLang="ru-RU" sz="2100" b="1" dirty="0" err="1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Заң</a:t>
              </a:r>
              <a:r>
                <a:rPr lang="ru-RU" altLang="ru-RU" sz="21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altLang="ru-RU" sz="2100" b="1" dirty="0" err="1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жобалары</a:t>
              </a:r>
              <a:r>
                <a:rPr lang="ru-RU" altLang="ru-RU" sz="21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altLang="ru-RU" sz="2100" b="1" dirty="0" err="1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мақсаты</a:t>
              </a:r>
              <a:r>
                <a:rPr lang="ru-RU" altLang="ru-RU" sz="21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:</a:t>
              </a:r>
              <a:endParaRPr lang="ru-RU" sz="2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6" name="Прямоугольник 15"/>
          <p:cNvSpPr/>
          <p:nvPr/>
        </p:nvSpPr>
        <p:spPr>
          <a:xfrm>
            <a:off x="0" y="0"/>
            <a:ext cx="10693400" cy="49541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15" tIns="52157" rIns="104315" bIns="52157" rtlCol="0" anchor="ctr"/>
          <a:lstStyle/>
          <a:p>
            <a:pPr algn="ctr"/>
            <a:r>
              <a:rPr lang="ru-RU" sz="2300" b="1" dirty="0" err="1" smtClean="0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Заң</a:t>
            </a:r>
            <a:r>
              <a:rPr lang="ru-RU" sz="2300" b="1" dirty="0" smtClean="0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 </a:t>
            </a:r>
            <a:r>
              <a:rPr lang="ru-RU" sz="2300" b="1" dirty="0" err="1" smtClean="0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жобалары</a:t>
            </a:r>
            <a:r>
              <a:rPr lang="ru-RU" sz="2300" b="1" dirty="0" smtClean="0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 </a:t>
            </a:r>
            <a:r>
              <a:rPr lang="ru-RU" sz="2300" b="1" dirty="0" err="1" smtClean="0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туралы</a:t>
            </a:r>
            <a:r>
              <a:rPr lang="ru-RU" sz="2300" b="1" dirty="0" smtClean="0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 </a:t>
            </a:r>
            <a:r>
              <a:rPr lang="ru-RU" sz="2300" b="1" dirty="0" err="1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жалпы</a:t>
            </a:r>
            <a:r>
              <a:rPr lang="ru-RU" sz="2300" b="1" dirty="0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 </a:t>
            </a:r>
            <a:r>
              <a:rPr lang="ru-RU" sz="2300" b="1" dirty="0" err="1" smtClean="0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мәліметтер</a:t>
            </a:r>
            <a:endParaRPr lang="ru-RU" sz="2300" b="1" dirty="0">
              <a:solidFill>
                <a:prstClr val="white"/>
              </a:solidFill>
              <a:latin typeface="Arial" pitchFamily="34" charset="0"/>
              <a:ea typeface="Segoe UI" pitchFamily="34" charset="0"/>
              <a:cs typeface="Arial" pitchFamily="34" charset="0"/>
            </a:endParaRPr>
          </a:p>
        </p:txBody>
      </p:sp>
      <p:sp>
        <p:nvSpPr>
          <p:cNvPr id="11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8240803" y="7118178"/>
            <a:ext cx="2406015" cy="402652"/>
          </a:xfrm>
          <a:prstGeom prst="rect">
            <a:avLst/>
          </a:prstGeom>
        </p:spPr>
        <p:txBody>
          <a:bodyPr lIns="104315" tIns="52157" rIns="104315" bIns="52157"/>
          <a:lstStyle/>
          <a:p>
            <a:pPr algn="r"/>
            <a:fld id="{E7E4A56A-6CFF-441F-ACD8-679C2267E3E3}" type="slidenum">
              <a:rPr lang="ru-RU" smtClean="0"/>
              <a:pPr algn="r"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1978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jrtZCBNEy4QbBHQlj2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jrtZCBNEy4QbBHQlj2o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41</TotalTime>
  <Words>1128</Words>
  <Application>Microsoft Office PowerPoint</Application>
  <PresentationFormat>Произвольный</PresentationFormat>
  <Paragraphs>234</Paragraphs>
  <Slides>11</Slides>
  <Notes>4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2" baseType="lpstr">
      <vt:lpstr>Office Them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 проекте закона Республики Казахстан 29.09.cdr</dc:title>
  <dc:creator>AdminKz</dc:creator>
  <cp:lastModifiedBy>cominvest112</cp:lastModifiedBy>
  <cp:revision>267</cp:revision>
  <cp:lastPrinted>2017-12-24T05:02:54Z</cp:lastPrinted>
  <dcterms:created xsi:type="dcterms:W3CDTF">2017-09-29T08:28:39Z</dcterms:created>
  <dcterms:modified xsi:type="dcterms:W3CDTF">2017-12-26T10:37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7-09-29T00:00:00Z</vt:filetime>
  </property>
  <property fmtid="{D5CDD505-2E9C-101B-9397-08002B2CF9AE}" pid="3" name="Creator">
    <vt:lpwstr>CorelDRAW X7</vt:lpwstr>
  </property>
  <property fmtid="{D5CDD505-2E9C-101B-9397-08002B2CF9AE}" pid="4" name="LastSaved">
    <vt:filetime>2017-09-29T00:00:00Z</vt:filetime>
  </property>
</Properties>
</file>